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8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  <p:sldMasterId id="2147483724" r:id="rId7"/>
    <p:sldMasterId id="2147483750" r:id="rId8"/>
    <p:sldMasterId id="2147483752" r:id="rId9"/>
    <p:sldMasterId id="2147483755" r:id="rId10"/>
    <p:sldMasterId id="2147483782" r:id="rId11"/>
    <p:sldMasterId id="2147483810" r:id="rId12"/>
    <p:sldMasterId id="2147483835" r:id="rId13"/>
    <p:sldMasterId id="2147483863" r:id="rId14"/>
    <p:sldMasterId id="2147483897" r:id="rId15"/>
  </p:sldMasterIdLst>
  <p:notesMasterIdLst>
    <p:notesMasterId r:id="rId32"/>
  </p:notesMasterIdLst>
  <p:handoutMasterIdLst>
    <p:handoutMasterId r:id="rId33"/>
  </p:handoutMasterIdLst>
  <p:sldIdLst>
    <p:sldId id="2147139124" r:id="rId16"/>
    <p:sldId id="2147477555" r:id="rId17"/>
    <p:sldId id="2147479092" r:id="rId18"/>
    <p:sldId id="2147477399" r:id="rId19"/>
    <p:sldId id="550" r:id="rId20"/>
    <p:sldId id="2147377048" r:id="rId21"/>
    <p:sldId id="2147477569" r:id="rId22"/>
    <p:sldId id="2145705542" r:id="rId23"/>
    <p:sldId id="5224" r:id="rId24"/>
    <p:sldId id="2147377078" r:id="rId25"/>
    <p:sldId id="2147479125" r:id="rId26"/>
    <p:sldId id="2147139206" r:id="rId27"/>
    <p:sldId id="2147377054" r:id="rId28"/>
    <p:sldId id="2147477594" r:id="rId29"/>
    <p:sldId id="2141412223" r:id="rId30"/>
    <p:sldId id="2147477542" r:id="rId31"/>
  </p:sldIdLst>
  <p:sldSz cx="9144000" cy="5143500" type="screen16x9"/>
  <p:notesSz cx="6797675" cy="9926638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36" userDrawn="1">
          <p15:clr>
            <a:srgbClr val="A4A3A4"/>
          </p15:clr>
        </p15:guide>
        <p15:guide id="2" orient="horz" pos="3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4F3E01-DCBB-3319-B265-B2B1EA5DD7D7}" name="Lynne Donald" initials="LD" userId="S::LYDO@hempel.com::2ad9ca54-d8fa-40c8-bbd1-715c77016b67" providerId="AD"/>
  <p188:author id="{546DBD30-5F40-C9AF-7291-A3A1F86696A6}" name="Marlene Wagner" initials="MW" userId="S::MWAG@hempel.com::8819061b-70cc-4deb-96a8-82880fbdf32e" providerId="AD"/>
  <p188:author id="{9BAEDB36-CA7B-F696-E565-8D2F852FC0B1}" name="Dagny Nome" initials="DN" userId="S::DAGN@hempel.com::0c571d9a-d83f-4da6-b5a5-aff4498595d4" providerId="AD"/>
  <p188:author id="{E7EE7E97-5732-49EE-DF7C-744C37178104}" name="Laurie Kosek" initials="LK" userId="S::lauk@hempel.com::30bb5d34-b0ac-4c1e-b725-d743c47187e6" providerId="AD"/>
  <p188:author id="{4F730099-2FC3-BE8A-BC5F-13DB92DBB251}" name="Martin Wiese" initials="MW" userId="S::wie@hempel.com::05ef6049-f966-4f6f-9be8-5db864dc48aa" providerId="AD"/>
  <p188:author id="{1847E2C0-C095-694F-9913-ABA972C96744}" name="Martin Wiese" initials="MW" userId="S::WIE@hempel.com::05ef6049-f966-4f6f-9be8-5db864dc48aa" providerId="AD"/>
  <p188:author id="{332AC3C7-E2FF-7A6D-3B4E-F8469AC5FF17}" name="Maria Carlsen Skovsted" initials="MCS" userId="S::MACSK@hempel.com::dfb448a3-18d9-4f7d-9c63-f6d8df7c3117" providerId="AD"/>
  <p188:author id="{E62C71CB-CC62-67D0-CB3A-15C91AE34DD5}" name="Yorgos Chalkias" initials="YC" userId="S::gec@hempel.com::bca48f85-e6d3-4bbd-a200-89060e226fdc" providerId="AD"/>
  <p188:author id="{1D6997D6-9078-4C70-3013-AC04D22F13D7}" name="Morten Fløe Knudsen" initials="MFK" userId="S::MKNU@hempel.com::8e95a4f9-572c-4643-8864-884c9066ccf0" providerId="AD"/>
  <p188:author id="{CA08A9DE-F732-76BF-34A1-D7AEACFC7EB5}" name="Migle Lercke Skytte" initials="MLS" userId="S::mist@hempel.com::033b465b-c8ac-4e03-8295-fe627987197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lene Wagner" initials="MW" lastIdx="23" clrIdx="0">
    <p:extLst>
      <p:ext uri="{19B8F6BF-5375-455C-9EA6-DF929625EA0E}">
        <p15:presenceInfo xmlns:p15="http://schemas.microsoft.com/office/powerpoint/2012/main" userId="S::MWAG@hempel.com::8819061b-70cc-4deb-96a8-82880fbdf32e" providerId="AD"/>
      </p:ext>
    </p:extLst>
  </p:cmAuthor>
  <p:cmAuthor id="2" name="Hanne Cassim" initials="HC" lastIdx="1" clrIdx="1">
    <p:extLst>
      <p:ext uri="{19B8F6BF-5375-455C-9EA6-DF929625EA0E}">
        <p15:presenceInfo xmlns:p15="http://schemas.microsoft.com/office/powerpoint/2012/main" userId="S::hanne@essensen.onmicrosoft.com::b09d2aa7-cf1c-46aa-930a-0db560eec19c" providerId="AD"/>
      </p:ext>
    </p:extLst>
  </p:cmAuthor>
  <p:cmAuthor id="3" name="Nina Lomborg Linneke" initials="NLL" lastIdx="2" clrIdx="2">
    <p:extLst>
      <p:ext uri="{19B8F6BF-5375-455C-9EA6-DF929625EA0E}">
        <p15:presenceInfo xmlns:p15="http://schemas.microsoft.com/office/powerpoint/2012/main" userId="S::NILO@hempel.com::480c35bc-5251-4a07-9ab5-cd25a7d73004" providerId="AD"/>
      </p:ext>
    </p:extLst>
  </p:cmAuthor>
  <p:cmAuthor id="4" name="Camilla Travis" initials="CT" lastIdx="8" clrIdx="3">
    <p:extLst>
      <p:ext uri="{19B8F6BF-5375-455C-9EA6-DF929625EA0E}">
        <p15:presenceInfo xmlns:p15="http://schemas.microsoft.com/office/powerpoint/2012/main" userId="S::CATR@hempel.com::c64f3145-4bc2-475c-885d-2c9b1765d7e1" providerId="AD"/>
      </p:ext>
    </p:extLst>
  </p:cmAuthor>
  <p:cmAuthor id="5" name="Sandra Baekby-Hansen" initials="SB" lastIdx="6" clrIdx="4">
    <p:extLst>
      <p:ext uri="{19B8F6BF-5375-455C-9EA6-DF929625EA0E}">
        <p15:presenceInfo xmlns:p15="http://schemas.microsoft.com/office/powerpoint/2012/main" userId="S::sabae@hempel.com::7f34af08-8186-4867-afc3-c6f84a03fbca" providerId="AD"/>
      </p:ext>
    </p:extLst>
  </p:cmAuthor>
  <p:cmAuthor id="6" name="Maria Carlsen Skovsted" initials="MCS" lastIdx="6" clrIdx="5">
    <p:extLst>
      <p:ext uri="{19B8F6BF-5375-455C-9EA6-DF929625EA0E}">
        <p15:presenceInfo xmlns:p15="http://schemas.microsoft.com/office/powerpoint/2012/main" userId="S::MACSK@hempel.com::dfb448a3-18d9-4f7d-9c63-f6d8df7c31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D79"/>
    <a:srgbClr val="003BA5"/>
    <a:srgbClr val="64A70D"/>
    <a:srgbClr val="B9CFFF"/>
    <a:srgbClr val="EC9C33"/>
    <a:srgbClr val="D24E23"/>
    <a:srgbClr val="7C3476"/>
    <a:srgbClr val="305733"/>
    <a:srgbClr val="009DDE"/>
    <a:srgbClr val="64A7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1" autoAdjust="0"/>
    <p:restoredTop sz="93420" autoAdjust="0"/>
  </p:normalViewPr>
  <p:slideViewPr>
    <p:cSldViewPr snapToGrid="0">
      <p:cViewPr>
        <p:scale>
          <a:sx n="100" d="100"/>
          <a:sy n="100" d="100"/>
        </p:scale>
        <p:origin x="1926" y="684"/>
      </p:cViewPr>
      <p:guideLst>
        <p:guide pos="136"/>
        <p:guide orient="horz" pos="32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-52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8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ableStyles" Target="tableStyles.xml"/><Relationship Id="rId21" Type="http://schemas.openxmlformats.org/officeDocument/2006/relationships/slide" Target="slides/slide6.xml"/><Relationship Id="rId34" Type="http://schemas.openxmlformats.org/officeDocument/2006/relationships/tags" Target="tags/tag1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9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10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141259-F9EA-0943-BED4-F2ABF4F3B27B}" type="datetimeFigureOut">
              <a:rPr lang="en-GB" sz="1000"/>
              <a:pPr/>
              <a:t>22/01/2024</a:t>
            </a:fld>
            <a:endParaRPr lang="en-GB" sz="10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AA3C7-1A28-B441-A4B6-08F08F82DDD0}" type="slidenum">
              <a:rPr sz="1000"/>
              <a:pPr/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41912041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E8352244-0E1E-A244-8806-522CB1FF3DFE}" type="datetimeFigureOut">
              <a:rPr lang="en-GB" smtClean="0"/>
              <a:pPr/>
              <a:t>22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0488" y="4715153"/>
            <a:ext cx="661670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EDE8E2A-980D-6D41-8189-A8CFECAAAB9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39719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GB" sz="1200" i="1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DE8E2A-980D-6D41-8189-A8CFECAAAB93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073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S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69D15E-D560-4695-A663-237937740D58}" type="slidenum">
              <a:rPr kumimoji="0" lang="en-S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S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449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ABEB14-E039-F247-8F40-9439C45369A2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87827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E8E2A-980D-6D41-8189-A8CFECAAAB93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0674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E8E2A-980D-6D41-8189-A8CFECAAAB93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8730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E8E2A-980D-6D41-8189-A8CFECAAAB93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37265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meetings take different </a:t>
            </a:r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E8E2A-980D-6D41-8189-A8CFECAAAB93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95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5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0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0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0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B6869E-FC08-984B-868F-CCE913811E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6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</p:spTree>
    <p:extLst>
      <p:ext uri="{BB962C8B-B14F-4D97-AF65-F5344CB8AC3E}">
        <p14:creationId xmlns:p14="http://schemas.microsoft.com/office/powerpoint/2010/main" val="131955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 userDrawn="1">
          <p15:clr>
            <a:srgbClr val="F26B43"/>
          </p15:clr>
        </p15:guide>
        <p15:guide id="2" pos="2993" userDrawn="1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  <a:endParaRPr lang="en-GB"/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/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1054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28724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8060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280EF5A-3BC4-4678-8608-A73DCF7838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0230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B4E15B-DA2A-420A-A25C-26DDB1754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376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3A54B3-082A-4362-B0E3-40670DC1F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8349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C3306B-AF23-40F4-A024-098DCA812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2052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85EBDA-CBC8-4C56-9A58-FE6C31E7D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1495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4CBA01-9D68-4705-8125-2D73F311D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236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29 July 2021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4D2EF6D-FD94-497D-A90C-64520022FF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578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/>
              <a:t>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735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 userDrawn="1">
          <p15:clr>
            <a:srgbClr val="F26B43"/>
          </p15:clr>
        </p15:guide>
        <p15:guide id="2" pos="3719" userDrawn="1">
          <p15:clr>
            <a:srgbClr val="F26B43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agenda title]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9464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4481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 or select the placeholder and insert image via Templafy Image Library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 dirty="0"/>
              <a:t>Click to add text or select the placeholder and insert image via Templafy Image Library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815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 dirty="0"/>
              <a:t>Select the placeholder and insert image via Templafy Image Library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479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75D8A4-24E5-4843-B39E-B68C237771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06327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141D9C-CE43-426D-8A4F-45ABC62AFD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9466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A21613-B359-4066-AD7A-91683A7BC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7683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5CB315-5AC5-4088-A92F-DFD8ADF4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620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26214D-8553-4980-A541-E007CDA37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33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D3B11D-6BDD-4C50-BA68-701D76C299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9707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575302-3F36-9A4D-9B92-8ADF6F3143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7650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29 July 2021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992D06-B690-44A7-9D14-5F76C97CF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0249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 dirty="0"/>
              <a:t>Click to add reference/notes</a:t>
            </a:r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306721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  <a:endParaRPr lang="en-GB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  <a:endParaRPr lang="en-GB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 dirty="0"/>
              <a:t>Click to add reference/notes</a:t>
            </a:r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03481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  <a:endParaRPr lang="en-GB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  <a:endParaRPr lang="en-GB"/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  <a:endParaRPr lang="en-GB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  <a:endParaRPr lang="en-GB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 dirty="0"/>
              <a:t>Click to add reference/notes</a:t>
            </a:r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77839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Click the placeholder and paste image via Images Librar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 dirty="0"/>
              <a:t>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67269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91131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  <a:endParaRPr lang="en-GB"/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/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18109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301365" cy="92333"/>
          </a:xfrm>
        </p:spPr>
        <p:txBody>
          <a:bodyPr/>
          <a:lstStyle/>
          <a:p>
            <a:fld id="{C764DE79-268F-4C1A-8933-263129D2AF90}" type="datetimeFigureOut">
              <a:rPr lang="en-US" dirty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188" y="4835793"/>
            <a:ext cx="94039" cy="92333"/>
          </a:xfrm>
        </p:spPr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19239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781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618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BF4BC-A50B-D74D-A990-14A9A35E5A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42956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DA57A3-D2D9-4331-BE61-0E0816C321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67090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43713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8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8DDDA3-D8C6-4A8F-A51C-052C4C240D3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0394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C6A23E-9C46-4FE5-A1CB-6DD493EFC0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141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280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704223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 or select the placeholder and insert image via Templafy Image Library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 dirty="0"/>
              <a:t>Click to add text or select the placeholder and insert image via Templafy Image Library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992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 dirty="0"/>
              <a:t>Select the placeholder and insert image via Templafy Image Library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367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76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9B5C56-B15E-4A43-BC16-3A844F716F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61208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A09AD8-2174-4FE8-95D6-FE5B48331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65709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73092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89EE9E-3F9F-4AE4-BF46-3E66A2F29E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8348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A58C18-6F9C-41B3-9CFB-F7B0A04A51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4066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0F28562-66D8-4861-8FB3-E4E0D14A5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37472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 dirty="0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0062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 dirty="0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239586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 dirty="0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 dirty="0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40772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373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6DF623-8300-CA4E-AE06-EE5AD32776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5731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9848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450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57A02-3F20-49BA-86FB-D37AE06645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5582B4-6FC9-4C9D-B816-63B06BCB56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ADBC8E-400D-428B-A335-F2C8D35718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387927" cy="92333"/>
          </a:xfrm>
        </p:spPr>
        <p:txBody>
          <a:bodyPr/>
          <a:lstStyle/>
          <a:p>
            <a:fld id="{47C67723-FA08-4C9C-A563-3EA84E16EB08}" type="datetimeFigureOut">
              <a:rPr lang="en-DK" smtClean="0"/>
              <a:t>22/01/2024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9AB1AD-4D77-4045-9AC2-ECAEAF417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CEA507-2A54-4713-ABE2-5BF5135A5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5188" y="4835793"/>
            <a:ext cx="94039" cy="92333"/>
          </a:xfrm>
        </p:spPr>
        <p:txBody>
          <a:bodyPr/>
          <a:lstStyle/>
          <a:p>
            <a:fld id="{BA9B7E72-7878-46DE-9397-4306F1A36F3B}" type="slidenum">
              <a:rPr lang="en-DK" smtClean="0"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18573133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DD8AA9-8ADE-41A0-973C-EF67BEA8FC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387927" cy="92333"/>
          </a:xfrm>
        </p:spPr>
        <p:txBody>
          <a:bodyPr/>
          <a:lstStyle/>
          <a:p>
            <a:fld id="{47C67723-FA08-4C9C-A563-3EA84E16EB08}" type="datetimeFigureOut">
              <a:rPr lang="en-DK" smtClean="0"/>
              <a:t>22/01/2024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CD8320-F719-492B-A44E-C1D6F554E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144D09-6FC7-477B-907B-9917CF001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5188" y="4835793"/>
            <a:ext cx="94039" cy="92333"/>
          </a:xfrm>
        </p:spPr>
        <p:txBody>
          <a:bodyPr/>
          <a:lstStyle/>
          <a:p>
            <a:fld id="{BA9B7E72-7878-46DE-9397-4306F1A36F3B}" type="slidenum">
              <a:rPr lang="en-DK" smtClean="0"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56346367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51957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B6869E-FC08-984B-868F-CCE913811E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085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28DF4E-322C-7642-B3B7-F47EF80036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492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3C7CE31-4476-8943-9D3F-5DF2FF6D29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2745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75B484-693E-A948-A7E7-861D3F0EF1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2592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4AC53E-7E6E-9D49-829B-4A8DF507F3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8747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6A1199-63D0-5B46-B627-B24121DB6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CA20A69-3797-2348-8CD5-CCEE54E1C8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78799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Dagny No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395324-35B7-8B46-8D94-B45134B3D7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137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029005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11264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</p:spTree>
    <p:extLst>
      <p:ext uri="{BB962C8B-B14F-4D97-AF65-F5344CB8AC3E}">
        <p14:creationId xmlns:p14="http://schemas.microsoft.com/office/powerpoint/2010/main" val="143698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/>
              <a:t>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94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575302-3F36-9A4D-9B92-8ADF6F3143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9465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0BF4BC-A50B-D74D-A990-14A9A35E5A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5727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9B5C56-B15E-4A43-BC16-3A844F716F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3487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16DF623-8300-CA4E-AE06-EE5AD32776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355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E0D90D-AD28-1B4C-950E-34B633EFA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6A1199-63D0-5B46-B627-B24121DB6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5129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E0D90D-AD28-1B4C-950E-34B633EFA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02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5 October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A7F9CA-6F6F-4A4C-B339-5D9CDE1A63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05972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34009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67598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7630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9115728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 October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52590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  <a:endParaRPr lang="en-GB"/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/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19127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 Title Only">
  <p:cSld name="Plain Title Only">
    <p:spTree>
      <p:nvGrpSpPr>
        <p:cNvPr id="1" name="Shape 3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82" name="Google Shape;3382;p170"/>
          <p:cNvGrpSpPr/>
          <p:nvPr/>
        </p:nvGrpSpPr>
        <p:grpSpPr>
          <a:xfrm>
            <a:off x="-2185" y="-129"/>
            <a:ext cx="9156606" cy="40119"/>
            <a:chOff x="741309" y="1283369"/>
            <a:chExt cx="1636745" cy="280800"/>
          </a:xfrm>
        </p:grpSpPr>
        <p:sp>
          <p:nvSpPr>
            <p:cNvPr id="3383" name="Google Shape;3383;p170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4" name="Google Shape;3384;p170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85" name="Google Shape;3385;p170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86" name="Google Shape;3386;p170"/>
          <p:cNvSpPr txBox="1"/>
          <p:nvPr/>
        </p:nvSpPr>
        <p:spPr>
          <a:xfrm>
            <a:off x="8806061" y="4917985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25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9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387" name="Google Shape;3387;p170"/>
          <p:cNvGrpSpPr/>
          <p:nvPr/>
        </p:nvGrpSpPr>
        <p:grpSpPr>
          <a:xfrm>
            <a:off x="8620964" y="4835468"/>
            <a:ext cx="260444" cy="307562"/>
            <a:chOff x="5761539" y="3843374"/>
            <a:chExt cx="1772633" cy="1745774"/>
          </a:xfrm>
        </p:grpSpPr>
        <p:sp>
          <p:nvSpPr>
            <p:cNvPr id="3388" name="Google Shape;3388;p170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9" name="Google Shape;3389;p170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390" name="Google Shape;3390;p170"/>
          <p:cNvGrpSpPr/>
          <p:nvPr/>
        </p:nvGrpSpPr>
        <p:grpSpPr>
          <a:xfrm>
            <a:off x="117916" y="4869182"/>
            <a:ext cx="833991" cy="152300"/>
            <a:chOff x="2911" y="1991"/>
            <a:chExt cx="1862" cy="340"/>
          </a:xfrm>
        </p:grpSpPr>
        <p:sp>
          <p:nvSpPr>
            <p:cNvPr id="3391" name="Google Shape;3391;p170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2" name="Google Shape;3392;p170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3" name="Google Shape;3393;p170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4" name="Google Shape;3394;p170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5" name="Google Shape;3395;p170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6" name="Google Shape;3396;p170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7" name="Google Shape;3397;p170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8" name="Google Shape;3398;p170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9" name="Google Shape;3399;p170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0" name="Google Shape;3400;p170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2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401" name="Google Shape;3401;p170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402" name="Google Shape;3402;p170"/>
          <p:cNvCxnSpPr/>
          <p:nvPr/>
        </p:nvCxnSpPr>
        <p:spPr>
          <a:xfrm>
            <a:off x="8871522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03" name="Google Shape;3403;p170"/>
          <p:cNvSpPr txBox="1"/>
          <p:nvPr/>
        </p:nvSpPr>
        <p:spPr>
          <a:xfrm>
            <a:off x="8817810" y="4904098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25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9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4" name="Google Shape;3404;p170"/>
          <p:cNvSpPr txBox="1">
            <a:spLocks noGrp="1"/>
          </p:cNvSpPr>
          <p:nvPr>
            <p:ph type="title"/>
          </p:nvPr>
        </p:nvSpPr>
        <p:spPr>
          <a:xfrm>
            <a:off x="99080" y="127103"/>
            <a:ext cx="5105475" cy="375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C43C"/>
              </a:buClr>
              <a:buSzPts val="3200"/>
              <a:buFont typeface="Calibri"/>
              <a:buNone/>
              <a:defRPr sz="2400" b="1" i="0" u="none" strike="noStrike" cap="none">
                <a:solidFill>
                  <a:srgbClr val="00C43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235469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A7F9CA-6F6F-4A4C-B339-5D9CDE1A63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lain Title Only 4">
  <p:cSld name="Plain Title Only 4">
    <p:spTree>
      <p:nvGrpSpPr>
        <p:cNvPr id="1" name="Shape 2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2" name="Google Shape;2292;p117"/>
          <p:cNvGrpSpPr/>
          <p:nvPr/>
        </p:nvGrpSpPr>
        <p:grpSpPr>
          <a:xfrm>
            <a:off x="-2185" y="-129"/>
            <a:ext cx="9156606" cy="40119"/>
            <a:chOff x="741309" y="1283369"/>
            <a:chExt cx="1636745" cy="280800"/>
          </a:xfrm>
        </p:grpSpPr>
        <p:sp>
          <p:nvSpPr>
            <p:cNvPr id="2293" name="Google Shape;2293;p117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4" name="Google Shape;2294;p117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95" name="Google Shape;2295;p117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96" name="Google Shape;2296;p117"/>
          <p:cNvSpPr txBox="1"/>
          <p:nvPr/>
        </p:nvSpPr>
        <p:spPr>
          <a:xfrm>
            <a:off x="8806061" y="4917985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825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97" name="Google Shape;2297;p117"/>
          <p:cNvGrpSpPr/>
          <p:nvPr/>
        </p:nvGrpSpPr>
        <p:grpSpPr>
          <a:xfrm>
            <a:off x="8620964" y="4835468"/>
            <a:ext cx="260444" cy="307562"/>
            <a:chOff x="5761539" y="3843374"/>
            <a:chExt cx="1772633" cy="1745774"/>
          </a:xfrm>
        </p:grpSpPr>
        <p:sp>
          <p:nvSpPr>
            <p:cNvPr id="2298" name="Google Shape;2298;p117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99" name="Google Shape;2299;p117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00" name="Google Shape;2300;p117"/>
          <p:cNvGrpSpPr/>
          <p:nvPr/>
        </p:nvGrpSpPr>
        <p:grpSpPr>
          <a:xfrm>
            <a:off x="117916" y="4869182"/>
            <a:ext cx="833991" cy="152300"/>
            <a:chOff x="2911" y="1991"/>
            <a:chExt cx="1862" cy="340"/>
          </a:xfrm>
        </p:grpSpPr>
        <p:sp>
          <p:nvSpPr>
            <p:cNvPr id="2301" name="Google Shape;2301;p117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2" name="Google Shape;2302;p117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3" name="Google Shape;2303;p117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4" name="Google Shape;2304;p117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117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6" name="Google Shape;2306;p117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7" name="Google Shape;2307;p117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8" name="Google Shape;2308;p117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9" name="Google Shape;2309;p117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0" name="Google Shape;2310;p117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2311" name="Google Shape;2311;p117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312" name="Google Shape;2312;p117"/>
          <p:cNvCxnSpPr/>
          <p:nvPr/>
        </p:nvCxnSpPr>
        <p:spPr>
          <a:xfrm>
            <a:off x="8871522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13" name="Google Shape;2313;p117"/>
          <p:cNvSpPr txBox="1"/>
          <p:nvPr/>
        </p:nvSpPr>
        <p:spPr>
          <a:xfrm>
            <a:off x="8817810" y="4904098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82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14" name="Google Shape;2314;p117"/>
          <p:cNvSpPr txBox="1">
            <a:spLocks noGrp="1"/>
          </p:cNvSpPr>
          <p:nvPr>
            <p:ph type="title"/>
          </p:nvPr>
        </p:nvSpPr>
        <p:spPr>
          <a:xfrm>
            <a:off x="99080" y="127103"/>
            <a:ext cx="8930700" cy="375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C43C"/>
              </a:buClr>
              <a:buSzPts val="3200"/>
              <a:buFont typeface="Calibri"/>
              <a:buNone/>
              <a:defRPr sz="2400" b="1" i="0" u="none" strike="noStrike" cap="none">
                <a:solidFill>
                  <a:srgbClr val="00C43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3595369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-Cityscape 1">
  <p:cSld name="Divider-Cityscape 1">
    <p:spTree>
      <p:nvGrpSpPr>
        <p:cNvPr id="1" name="Shape 1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2" name="Google Shape;1842;p96"/>
          <p:cNvPicPr preferRelativeResize="0"/>
          <p:nvPr/>
        </p:nvPicPr>
        <p:blipFill rotWithShape="1">
          <a:blip r:embed="rId2">
            <a:alphaModFix/>
          </a:blip>
          <a:srcRect t="7848" b="7848"/>
          <a:stretch/>
        </p:blipFill>
        <p:spPr>
          <a:xfrm>
            <a:off x="-36006" y="-10141"/>
            <a:ext cx="9187889" cy="5163776"/>
          </a:xfrm>
          <a:prstGeom prst="rect">
            <a:avLst/>
          </a:prstGeom>
          <a:noFill/>
          <a:ln>
            <a:noFill/>
          </a:ln>
        </p:spPr>
      </p:pic>
      <p:sp>
        <p:nvSpPr>
          <p:cNvPr id="1843" name="Google Shape;1843;p96"/>
          <p:cNvSpPr/>
          <p:nvPr/>
        </p:nvSpPr>
        <p:spPr>
          <a:xfrm>
            <a:off x="-36007" y="-10478"/>
            <a:ext cx="9187887" cy="5166524"/>
          </a:xfrm>
          <a:custGeom>
            <a:avLst/>
            <a:gdLst/>
            <a:ahLst/>
            <a:cxnLst/>
            <a:rect l="l" t="t" r="r" b="b"/>
            <a:pathLst>
              <a:path w="12250516" h="6871520" extrusionOk="0">
                <a:moveTo>
                  <a:pt x="0" y="0"/>
                </a:moveTo>
                <a:lnTo>
                  <a:pt x="12250516" y="0"/>
                </a:lnTo>
                <a:lnTo>
                  <a:pt x="12250516" y="737420"/>
                </a:lnTo>
                <a:lnTo>
                  <a:pt x="12245035" y="737420"/>
                </a:lnTo>
                <a:cubicBezTo>
                  <a:pt x="11899215" y="737420"/>
                  <a:pt x="11899215" y="737420"/>
                  <a:pt x="11899215" y="737420"/>
                </a:cubicBezTo>
                <a:cubicBezTo>
                  <a:pt x="11812928" y="737420"/>
                  <a:pt x="11726642" y="825528"/>
                  <a:pt x="11683498" y="913637"/>
                </a:cubicBezTo>
                <a:cubicBezTo>
                  <a:pt x="10173485" y="4658239"/>
                  <a:pt x="10173485" y="4658239"/>
                  <a:pt x="10173485" y="4658239"/>
                </a:cubicBezTo>
                <a:cubicBezTo>
                  <a:pt x="9957769" y="4173644"/>
                  <a:pt x="9957769" y="4173644"/>
                  <a:pt x="9957769" y="4173644"/>
                </a:cubicBezTo>
                <a:cubicBezTo>
                  <a:pt x="9742053" y="3689048"/>
                  <a:pt x="9310621" y="3424723"/>
                  <a:pt x="8836045" y="3424723"/>
                </a:cubicBezTo>
                <a:cubicBezTo>
                  <a:pt x="8447756" y="3424723"/>
                  <a:pt x="8447756" y="3424723"/>
                  <a:pt x="8447756" y="3424723"/>
                </a:cubicBezTo>
                <a:cubicBezTo>
                  <a:pt x="9612623" y="6023918"/>
                  <a:pt x="9612623" y="6023918"/>
                  <a:pt x="9612623" y="6023918"/>
                </a:cubicBezTo>
                <a:cubicBezTo>
                  <a:pt x="9612623" y="6112026"/>
                  <a:pt x="9698910" y="6156080"/>
                  <a:pt x="9828340" y="6156080"/>
                </a:cubicBezTo>
                <a:cubicBezTo>
                  <a:pt x="10389202" y="6156080"/>
                  <a:pt x="10389202" y="6156080"/>
                  <a:pt x="10389202" y="6156080"/>
                </a:cubicBezTo>
                <a:cubicBezTo>
                  <a:pt x="10518631" y="6156080"/>
                  <a:pt x="10604918" y="6112026"/>
                  <a:pt x="10648061" y="6023918"/>
                </a:cubicBezTo>
                <a:cubicBezTo>
                  <a:pt x="11404416" y="4297546"/>
                  <a:pt x="11900774" y="3164615"/>
                  <a:pt x="12226509" y="2421128"/>
                </a:cubicBezTo>
                <a:lnTo>
                  <a:pt x="12250516" y="2366332"/>
                </a:lnTo>
                <a:lnTo>
                  <a:pt x="12250516" y="6871520"/>
                </a:lnTo>
                <a:lnTo>
                  <a:pt x="0" y="6871520"/>
                </a:lnTo>
                <a:lnTo>
                  <a:pt x="0" y="0"/>
                </a:lnTo>
                <a:close/>
              </a:path>
            </a:pathLst>
          </a:custGeom>
          <a:solidFill>
            <a:srgbClr val="0C0C0C">
              <a:alpha val="62570"/>
            </a:srgb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844" name="Google Shape;1844;p96"/>
          <p:cNvSpPr/>
          <p:nvPr/>
        </p:nvSpPr>
        <p:spPr>
          <a:xfrm>
            <a:off x="5449609" y="542925"/>
            <a:ext cx="1530374" cy="1496363"/>
          </a:xfrm>
          <a:custGeom>
            <a:avLst/>
            <a:gdLst/>
            <a:ahLst/>
            <a:cxnLst/>
            <a:rect l="l" t="t" r="r" b="b"/>
            <a:pathLst>
              <a:path w="47" h="45" extrusionOk="0">
                <a:moveTo>
                  <a:pt x="29" y="3"/>
                </a:moveTo>
                <a:cubicBezTo>
                  <a:pt x="28" y="1"/>
                  <a:pt x="26" y="0"/>
                  <a:pt x="24" y="0"/>
                </a:cubicBezTo>
                <a:cubicBezTo>
                  <a:pt x="4" y="0"/>
                  <a:pt x="4" y="0"/>
                  <a:pt x="4" y="0"/>
                </a:cubicBezTo>
                <a:cubicBezTo>
                  <a:pt x="1" y="0"/>
                  <a:pt x="0" y="2"/>
                  <a:pt x="1" y="5"/>
                </a:cubicBezTo>
                <a:cubicBezTo>
                  <a:pt x="11" y="28"/>
                  <a:pt x="11" y="28"/>
                  <a:pt x="11" y="28"/>
                </a:cubicBezTo>
                <a:cubicBezTo>
                  <a:pt x="16" y="38"/>
                  <a:pt x="27" y="45"/>
                  <a:pt x="38" y="45"/>
                </a:cubicBezTo>
                <a:cubicBezTo>
                  <a:pt x="47" y="45"/>
                  <a:pt x="47" y="45"/>
                  <a:pt x="47" y="45"/>
                </a:cubicBezTo>
                <a:lnTo>
                  <a:pt x="29" y="3"/>
                </a:lnTo>
                <a:close/>
              </a:path>
            </a:pathLst>
          </a:custGeom>
          <a:solidFill>
            <a:srgbClr val="38B64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845" name="Google Shape;1845;p96"/>
          <p:cNvSpPr/>
          <p:nvPr/>
        </p:nvSpPr>
        <p:spPr>
          <a:xfrm>
            <a:off x="6299813" y="542925"/>
            <a:ext cx="2852070" cy="4063995"/>
          </a:xfrm>
          <a:custGeom>
            <a:avLst/>
            <a:gdLst/>
            <a:ahLst/>
            <a:cxnLst/>
            <a:rect l="l" t="t" r="r" b="b"/>
            <a:pathLst>
              <a:path w="3802760" h="5418660" extrusionOk="0">
                <a:moveTo>
                  <a:pt x="3451459" y="0"/>
                </a:moveTo>
                <a:cubicBezTo>
                  <a:pt x="3451459" y="0"/>
                  <a:pt x="3451459" y="0"/>
                  <a:pt x="3797279" y="0"/>
                </a:cubicBezTo>
                <a:lnTo>
                  <a:pt x="3802760" y="0"/>
                </a:lnTo>
                <a:lnTo>
                  <a:pt x="3802760" y="1628912"/>
                </a:lnTo>
                <a:lnTo>
                  <a:pt x="3778753" y="1683708"/>
                </a:lnTo>
                <a:cubicBezTo>
                  <a:pt x="3453018" y="2427195"/>
                  <a:pt x="2956660" y="3560126"/>
                  <a:pt x="2200305" y="5286498"/>
                </a:cubicBezTo>
                <a:cubicBezTo>
                  <a:pt x="2157162" y="5374606"/>
                  <a:pt x="2070875" y="5418660"/>
                  <a:pt x="1941446" y="5418660"/>
                </a:cubicBezTo>
                <a:cubicBezTo>
                  <a:pt x="1941446" y="5418660"/>
                  <a:pt x="1941446" y="5418660"/>
                  <a:pt x="1380584" y="5418660"/>
                </a:cubicBezTo>
                <a:cubicBezTo>
                  <a:pt x="1251154" y="5418660"/>
                  <a:pt x="1164867" y="5374606"/>
                  <a:pt x="1164867" y="5286498"/>
                </a:cubicBezTo>
                <a:cubicBezTo>
                  <a:pt x="1164867" y="5286498"/>
                  <a:pt x="1164867" y="5286498"/>
                  <a:pt x="0" y="2687303"/>
                </a:cubicBezTo>
                <a:cubicBezTo>
                  <a:pt x="0" y="2687303"/>
                  <a:pt x="0" y="2687303"/>
                  <a:pt x="388289" y="2687303"/>
                </a:cubicBezTo>
                <a:cubicBezTo>
                  <a:pt x="862865" y="2687303"/>
                  <a:pt x="1294297" y="2951628"/>
                  <a:pt x="1510013" y="3436224"/>
                </a:cubicBezTo>
                <a:cubicBezTo>
                  <a:pt x="1510013" y="3436224"/>
                  <a:pt x="1510013" y="3436224"/>
                  <a:pt x="1725729" y="3920819"/>
                </a:cubicBezTo>
                <a:cubicBezTo>
                  <a:pt x="1725729" y="3920819"/>
                  <a:pt x="1725729" y="3920819"/>
                  <a:pt x="3235742" y="176217"/>
                </a:cubicBezTo>
                <a:cubicBezTo>
                  <a:pt x="3278886" y="88108"/>
                  <a:pt x="3365172" y="0"/>
                  <a:pt x="3451459" y="0"/>
                </a:cubicBezTo>
                <a:close/>
              </a:path>
            </a:pathLst>
          </a:custGeom>
          <a:solidFill>
            <a:schemeClr val="lt1">
              <a:alpha val="9800"/>
            </a:scheme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1846" name="Google Shape;1846;p96"/>
          <p:cNvCxnSpPr/>
          <p:nvPr/>
        </p:nvCxnSpPr>
        <p:spPr>
          <a:xfrm>
            <a:off x="929434" y="-4"/>
            <a:ext cx="0" cy="2892375"/>
          </a:xfrm>
          <a:prstGeom prst="straightConnector1">
            <a:avLst/>
          </a:prstGeom>
          <a:noFill/>
          <a:ln w="9525" cap="flat" cmpd="sng">
            <a:solidFill>
              <a:srgbClr val="00C43C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1847" name="Google Shape;1847;p96"/>
          <p:cNvCxnSpPr/>
          <p:nvPr/>
        </p:nvCxnSpPr>
        <p:spPr>
          <a:xfrm>
            <a:off x="-934278" y="3349487"/>
            <a:ext cx="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48" name="Google Shape;1848;p96"/>
          <p:cNvSpPr txBox="1">
            <a:spLocks noGrp="1"/>
          </p:cNvSpPr>
          <p:nvPr>
            <p:ph type="title"/>
          </p:nvPr>
        </p:nvSpPr>
        <p:spPr>
          <a:xfrm>
            <a:off x="704429" y="2948368"/>
            <a:ext cx="4466475" cy="14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100"/>
              <a:buFont typeface="Calibri"/>
              <a:buNone/>
              <a:defRPr sz="2325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100"/>
              <a:buFont typeface="Calibri"/>
              <a:buNone/>
              <a:defRPr sz="2325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9" name="Google Shape;1849;p96"/>
          <p:cNvSpPr/>
          <p:nvPr/>
        </p:nvSpPr>
        <p:spPr>
          <a:xfrm>
            <a:off x="6299813" y="542924"/>
            <a:ext cx="2852070" cy="4063995"/>
          </a:xfrm>
          <a:custGeom>
            <a:avLst/>
            <a:gdLst/>
            <a:ahLst/>
            <a:cxnLst/>
            <a:rect l="l" t="t" r="r" b="b"/>
            <a:pathLst>
              <a:path w="3802760" h="5418660" extrusionOk="0">
                <a:moveTo>
                  <a:pt x="3451459" y="0"/>
                </a:moveTo>
                <a:cubicBezTo>
                  <a:pt x="3451459" y="0"/>
                  <a:pt x="3451459" y="0"/>
                  <a:pt x="3797279" y="0"/>
                </a:cubicBezTo>
                <a:lnTo>
                  <a:pt x="3802760" y="0"/>
                </a:lnTo>
                <a:lnTo>
                  <a:pt x="3802760" y="1628912"/>
                </a:lnTo>
                <a:lnTo>
                  <a:pt x="3778753" y="1683708"/>
                </a:lnTo>
                <a:cubicBezTo>
                  <a:pt x="3453018" y="2427195"/>
                  <a:pt x="2956660" y="3560126"/>
                  <a:pt x="2200305" y="5286498"/>
                </a:cubicBezTo>
                <a:cubicBezTo>
                  <a:pt x="2157162" y="5374606"/>
                  <a:pt x="2070875" y="5418660"/>
                  <a:pt x="1941446" y="5418660"/>
                </a:cubicBezTo>
                <a:cubicBezTo>
                  <a:pt x="1941446" y="5418660"/>
                  <a:pt x="1941446" y="5418660"/>
                  <a:pt x="1380584" y="5418660"/>
                </a:cubicBezTo>
                <a:cubicBezTo>
                  <a:pt x="1251154" y="5418660"/>
                  <a:pt x="1164867" y="5374606"/>
                  <a:pt x="1164867" y="5286498"/>
                </a:cubicBezTo>
                <a:cubicBezTo>
                  <a:pt x="1164867" y="5286498"/>
                  <a:pt x="1164867" y="5286498"/>
                  <a:pt x="0" y="2687303"/>
                </a:cubicBezTo>
                <a:cubicBezTo>
                  <a:pt x="0" y="2687303"/>
                  <a:pt x="0" y="2687303"/>
                  <a:pt x="388289" y="2687303"/>
                </a:cubicBezTo>
                <a:cubicBezTo>
                  <a:pt x="862865" y="2687303"/>
                  <a:pt x="1294297" y="2951628"/>
                  <a:pt x="1510013" y="3436224"/>
                </a:cubicBezTo>
                <a:cubicBezTo>
                  <a:pt x="1510013" y="3436224"/>
                  <a:pt x="1510013" y="3436224"/>
                  <a:pt x="1725729" y="3920819"/>
                </a:cubicBezTo>
                <a:cubicBezTo>
                  <a:pt x="1725729" y="3920819"/>
                  <a:pt x="1725729" y="3920819"/>
                  <a:pt x="3235742" y="176217"/>
                </a:cubicBezTo>
                <a:cubicBezTo>
                  <a:pt x="3278886" y="88108"/>
                  <a:pt x="3365172" y="0"/>
                  <a:pt x="3451459" y="0"/>
                </a:cubicBezTo>
                <a:close/>
              </a:path>
            </a:pathLst>
          </a:custGeom>
          <a:solidFill>
            <a:schemeClr val="lt1">
              <a:alpha val="9800"/>
            </a:scheme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238208848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 - EV Arrow w V ">
  <p:cSld name="Bullet - EV Arrow w V 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4" name="Google Shape;1934;p101"/>
          <p:cNvGrpSpPr/>
          <p:nvPr/>
        </p:nvGrpSpPr>
        <p:grpSpPr>
          <a:xfrm>
            <a:off x="5872950" y="866256"/>
            <a:ext cx="3790829" cy="3646496"/>
            <a:chOff x="8119597" y="414821"/>
            <a:chExt cx="3129490" cy="3010337"/>
          </a:xfrm>
        </p:grpSpPr>
        <p:sp>
          <p:nvSpPr>
            <p:cNvPr id="1935" name="Google Shape;1935;p101"/>
            <p:cNvSpPr/>
            <p:nvPr/>
          </p:nvSpPr>
          <p:spPr>
            <a:xfrm>
              <a:off x="8119597" y="414821"/>
              <a:ext cx="1171783" cy="1125221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F2F2F2">
                <a:alpha val="4392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6" name="Google Shape;1936;p101"/>
            <p:cNvSpPr/>
            <p:nvPr/>
          </p:nvSpPr>
          <p:spPr>
            <a:xfrm>
              <a:off x="8780361" y="414821"/>
              <a:ext cx="2468726" cy="3010337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F2F2F2">
                <a:alpha val="4392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937" name="Google Shape;1937;p101"/>
          <p:cNvGrpSpPr/>
          <p:nvPr/>
        </p:nvGrpSpPr>
        <p:grpSpPr>
          <a:xfrm>
            <a:off x="-2185" y="64"/>
            <a:ext cx="9156606" cy="40162"/>
            <a:chOff x="741309" y="1283369"/>
            <a:chExt cx="1636745" cy="280800"/>
          </a:xfrm>
        </p:grpSpPr>
        <p:sp>
          <p:nvSpPr>
            <p:cNvPr id="1938" name="Google Shape;1938;p101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9" name="Google Shape;1939;p101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40" name="Google Shape;1940;p101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900"/>
              <a:buFont typeface="Arial"/>
              <a:buNone/>
            </a:pPr>
            <a:endParaRPr sz="1425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1" name="Google Shape;1941;p101"/>
          <p:cNvSpPr txBox="1"/>
          <p:nvPr/>
        </p:nvSpPr>
        <p:spPr>
          <a:xfrm>
            <a:off x="8806061" y="4917985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825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42" name="Google Shape;1942;p101"/>
          <p:cNvGrpSpPr/>
          <p:nvPr/>
        </p:nvGrpSpPr>
        <p:grpSpPr>
          <a:xfrm>
            <a:off x="8620964" y="4836045"/>
            <a:ext cx="260444" cy="307823"/>
            <a:chOff x="5761539" y="3843374"/>
            <a:chExt cx="1772633" cy="1745774"/>
          </a:xfrm>
        </p:grpSpPr>
        <p:sp>
          <p:nvSpPr>
            <p:cNvPr id="1943" name="Google Shape;1943;p101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4" name="Google Shape;1944;p101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945" name="Google Shape;1945;p101"/>
          <p:cNvGrpSpPr/>
          <p:nvPr/>
        </p:nvGrpSpPr>
        <p:grpSpPr>
          <a:xfrm>
            <a:off x="117916" y="4869182"/>
            <a:ext cx="833991" cy="152300"/>
            <a:chOff x="2911" y="1991"/>
            <a:chExt cx="1862" cy="340"/>
          </a:xfrm>
        </p:grpSpPr>
        <p:sp>
          <p:nvSpPr>
            <p:cNvPr id="1946" name="Google Shape;1946;p101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7" name="Google Shape;1947;p101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8" name="Google Shape;1948;p101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9" name="Google Shape;1949;p101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0" name="Google Shape;1950;p101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1" name="Google Shape;1951;p101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101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3" name="Google Shape;1953;p101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4" name="Google Shape;1954;p101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5" name="Google Shape;1955;p101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</a:pPr>
              <a:endPara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1956" name="Google Shape;1956;p101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957" name="Google Shape;1957;p101"/>
          <p:cNvCxnSpPr/>
          <p:nvPr/>
        </p:nvCxnSpPr>
        <p:spPr>
          <a:xfrm>
            <a:off x="8871522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58" name="Google Shape;1958;p101"/>
          <p:cNvSpPr txBox="1"/>
          <p:nvPr/>
        </p:nvSpPr>
        <p:spPr>
          <a:xfrm>
            <a:off x="8817810" y="4904098"/>
            <a:ext cx="348975" cy="184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-US" sz="825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9" name="Google Shape;1959;p101"/>
          <p:cNvSpPr txBox="1">
            <a:spLocks noGrp="1"/>
          </p:cNvSpPr>
          <p:nvPr>
            <p:ph type="body" idx="1"/>
          </p:nvPr>
        </p:nvSpPr>
        <p:spPr>
          <a:xfrm>
            <a:off x="230885" y="630720"/>
            <a:ext cx="8521425" cy="4134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825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C43C"/>
              </a:buClr>
              <a:buSzPts val="2400"/>
              <a:buFont typeface="Montserrat Light"/>
              <a:buChar char="−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6193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  <a:defRPr sz="14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0" name="Google Shape;1960;p101"/>
          <p:cNvSpPr txBox="1">
            <a:spLocks noGrp="1"/>
          </p:cNvSpPr>
          <p:nvPr>
            <p:ph type="title"/>
          </p:nvPr>
        </p:nvSpPr>
        <p:spPr>
          <a:xfrm>
            <a:off x="99080" y="127103"/>
            <a:ext cx="5105475" cy="375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C43C"/>
              </a:buClr>
              <a:buSzPts val="3200"/>
              <a:buFont typeface="Calibri"/>
              <a:buNone/>
              <a:defRPr sz="2400" b="1" i="0" u="none" strike="noStrike" cap="none">
                <a:solidFill>
                  <a:srgbClr val="00C43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425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49195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_1">
  <p:cSld name="bullets_1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6" name="Google Shape;416;p20"/>
          <p:cNvGrpSpPr/>
          <p:nvPr/>
        </p:nvGrpSpPr>
        <p:grpSpPr>
          <a:xfrm>
            <a:off x="5872952" y="866257"/>
            <a:ext cx="3790829" cy="3646496"/>
            <a:chOff x="8119597" y="414821"/>
            <a:chExt cx="3129490" cy="3010337"/>
          </a:xfrm>
        </p:grpSpPr>
        <p:sp>
          <p:nvSpPr>
            <p:cNvPr id="417" name="Google Shape;417;p20"/>
            <p:cNvSpPr/>
            <p:nvPr/>
          </p:nvSpPr>
          <p:spPr>
            <a:xfrm>
              <a:off x="8119597" y="414821"/>
              <a:ext cx="1171783" cy="1125221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F2F2F2">
                <a:alpha val="4784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20"/>
            <p:cNvSpPr/>
            <p:nvPr/>
          </p:nvSpPr>
          <p:spPr>
            <a:xfrm>
              <a:off x="8780361" y="414821"/>
              <a:ext cx="2468726" cy="3010337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F2F2F2">
                <a:alpha val="4784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19" name="Google Shape;419;p20"/>
          <p:cNvGrpSpPr/>
          <p:nvPr/>
        </p:nvGrpSpPr>
        <p:grpSpPr>
          <a:xfrm>
            <a:off x="-2185" y="-32"/>
            <a:ext cx="9156606" cy="40140"/>
            <a:chOff x="741309" y="1283369"/>
            <a:chExt cx="1636745" cy="280800"/>
          </a:xfrm>
        </p:grpSpPr>
        <p:sp>
          <p:nvSpPr>
            <p:cNvPr id="420" name="Google Shape;420;p20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20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2" name="Google Shape;422;p20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68550" tIns="34275" rIns="68550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Calibri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p20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34275" rIns="68550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788"/>
              <a:buFont typeface="Arial"/>
              <a:buNone/>
            </a:pPr>
            <a:fld id="{00000000-1234-1234-1234-123412341234}" type="slidenum">
              <a:rPr lang="en-US" sz="78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788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24" name="Google Shape;424;p20"/>
          <p:cNvGrpSpPr/>
          <p:nvPr/>
        </p:nvGrpSpPr>
        <p:grpSpPr>
          <a:xfrm>
            <a:off x="8620529" y="4835757"/>
            <a:ext cx="260312" cy="307693"/>
            <a:chOff x="5761539" y="3843374"/>
            <a:chExt cx="1772633" cy="1745774"/>
          </a:xfrm>
        </p:grpSpPr>
        <p:sp>
          <p:nvSpPr>
            <p:cNvPr id="425" name="Google Shape;425;p20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Google Shape;426;p20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27" name="Google Shape;427;p20"/>
          <p:cNvGrpSpPr/>
          <p:nvPr/>
        </p:nvGrpSpPr>
        <p:grpSpPr>
          <a:xfrm>
            <a:off x="117916" y="4869181"/>
            <a:ext cx="833992" cy="152301"/>
            <a:chOff x="2911" y="1991"/>
            <a:chExt cx="1862" cy="340"/>
          </a:xfrm>
        </p:grpSpPr>
        <p:sp>
          <p:nvSpPr>
            <p:cNvPr id="428" name="Google Shape;428;p20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20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0" name="Google Shape;430;p20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1" name="Google Shape;431;p20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2" name="Google Shape;432;p20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" name="Google Shape;433;p20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" name="Google Shape;434;p20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" name="Google Shape;435;p20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" name="Google Shape;436;p20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7" name="Google Shape;437;p20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350"/>
                <a:buFont typeface="Calibri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438" name="Google Shape;438;p20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4DD67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39" name="Google Shape;439;p20"/>
          <p:cNvCxnSpPr/>
          <p:nvPr/>
        </p:nvCxnSpPr>
        <p:spPr>
          <a:xfrm>
            <a:off x="8871523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4DD67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0" name="Google Shape;440;p20"/>
          <p:cNvSpPr txBox="1">
            <a:spLocks noGrp="1"/>
          </p:cNvSpPr>
          <p:nvPr>
            <p:ph type="body" idx="1"/>
          </p:nvPr>
        </p:nvSpPr>
        <p:spPr>
          <a:xfrm>
            <a:off x="230885" y="630721"/>
            <a:ext cx="8521425" cy="4134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667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1" name="Google Shape;441;p20"/>
          <p:cNvSpPr txBox="1">
            <a:spLocks noGrp="1"/>
          </p:cNvSpPr>
          <p:nvPr>
            <p:ph type="title"/>
          </p:nvPr>
        </p:nvSpPr>
        <p:spPr>
          <a:xfrm>
            <a:off x="99082" y="127103"/>
            <a:ext cx="3767625" cy="374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C43C"/>
              </a:buClr>
              <a:buSzPts val="2400"/>
              <a:buFont typeface="Calibri"/>
              <a:buNone/>
              <a:defRPr sz="1800" b="1" i="0" u="none" strike="noStrike" cap="none">
                <a:solidFill>
                  <a:srgbClr val="00C43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2" name="Google Shape;442;p20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50" tIns="34275" rIns="68550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788"/>
              <a:buFont typeface="Calibri"/>
              <a:buNone/>
            </a:pPr>
            <a:fld id="{00000000-1234-1234-1234-123412341234}" type="slidenum">
              <a:rPr lang="en-US" sz="788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788"/>
                <a:buFont typeface="Calibri"/>
                <a:buNone/>
              </a:pPr>
              <a:t>‹#›</a:t>
            </a:fld>
            <a:endParaRPr sz="900" b="1" i="0" u="none" strike="noStrike" cap="none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848421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-Cityscape">
  <p:cSld name="Divider-Cityscape">
    <p:spTree>
      <p:nvGrpSpPr>
        <p:cNvPr id="1" name="Shape 2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01" name="Google Shape;2401;p1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36006" y="-10141"/>
            <a:ext cx="9187886" cy="516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402" name="Google Shape;2402;p123"/>
          <p:cNvSpPr/>
          <p:nvPr/>
        </p:nvSpPr>
        <p:spPr>
          <a:xfrm>
            <a:off x="-36007" y="-10140"/>
            <a:ext cx="9187887" cy="5166524"/>
          </a:xfrm>
          <a:custGeom>
            <a:avLst/>
            <a:gdLst/>
            <a:ahLst/>
            <a:cxnLst/>
            <a:rect l="l" t="t" r="r" b="b"/>
            <a:pathLst>
              <a:path w="12250516" h="6871520" extrusionOk="0">
                <a:moveTo>
                  <a:pt x="0" y="0"/>
                </a:moveTo>
                <a:lnTo>
                  <a:pt x="12250516" y="0"/>
                </a:lnTo>
                <a:lnTo>
                  <a:pt x="12250516" y="737420"/>
                </a:lnTo>
                <a:lnTo>
                  <a:pt x="12245035" y="737420"/>
                </a:lnTo>
                <a:cubicBezTo>
                  <a:pt x="11899215" y="737420"/>
                  <a:pt x="11899215" y="737420"/>
                  <a:pt x="11899215" y="737420"/>
                </a:cubicBezTo>
                <a:cubicBezTo>
                  <a:pt x="11812928" y="737420"/>
                  <a:pt x="11726642" y="825528"/>
                  <a:pt x="11683498" y="913637"/>
                </a:cubicBezTo>
                <a:cubicBezTo>
                  <a:pt x="10173485" y="4658239"/>
                  <a:pt x="10173485" y="4658239"/>
                  <a:pt x="10173485" y="4658239"/>
                </a:cubicBezTo>
                <a:cubicBezTo>
                  <a:pt x="9957769" y="4173644"/>
                  <a:pt x="9957769" y="4173644"/>
                  <a:pt x="9957769" y="4173644"/>
                </a:cubicBezTo>
                <a:cubicBezTo>
                  <a:pt x="9742053" y="3689048"/>
                  <a:pt x="9310621" y="3424723"/>
                  <a:pt x="8836045" y="3424723"/>
                </a:cubicBezTo>
                <a:cubicBezTo>
                  <a:pt x="8447756" y="3424723"/>
                  <a:pt x="8447756" y="3424723"/>
                  <a:pt x="8447756" y="3424723"/>
                </a:cubicBezTo>
                <a:cubicBezTo>
                  <a:pt x="9612623" y="6023918"/>
                  <a:pt x="9612623" y="6023918"/>
                  <a:pt x="9612623" y="6023918"/>
                </a:cubicBezTo>
                <a:cubicBezTo>
                  <a:pt x="9612623" y="6112026"/>
                  <a:pt x="9698910" y="6156080"/>
                  <a:pt x="9828340" y="6156080"/>
                </a:cubicBezTo>
                <a:cubicBezTo>
                  <a:pt x="10389202" y="6156080"/>
                  <a:pt x="10389202" y="6156080"/>
                  <a:pt x="10389202" y="6156080"/>
                </a:cubicBezTo>
                <a:cubicBezTo>
                  <a:pt x="10518631" y="6156080"/>
                  <a:pt x="10604918" y="6112026"/>
                  <a:pt x="10648061" y="6023918"/>
                </a:cubicBezTo>
                <a:cubicBezTo>
                  <a:pt x="11404416" y="4297546"/>
                  <a:pt x="11900774" y="3164615"/>
                  <a:pt x="12226509" y="2421128"/>
                </a:cubicBezTo>
                <a:lnTo>
                  <a:pt x="12250516" y="2366332"/>
                </a:lnTo>
                <a:lnTo>
                  <a:pt x="12250516" y="6871520"/>
                </a:lnTo>
                <a:lnTo>
                  <a:pt x="0" y="6871520"/>
                </a:lnTo>
                <a:lnTo>
                  <a:pt x="0" y="0"/>
                </a:lnTo>
                <a:close/>
              </a:path>
            </a:pathLst>
          </a:custGeom>
          <a:solidFill>
            <a:srgbClr val="0C0C0C">
              <a:alpha val="85880"/>
            </a:srgb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403" name="Google Shape;2403;p123"/>
          <p:cNvSpPr/>
          <p:nvPr/>
        </p:nvSpPr>
        <p:spPr>
          <a:xfrm>
            <a:off x="5449609" y="542925"/>
            <a:ext cx="1530374" cy="1496363"/>
          </a:xfrm>
          <a:custGeom>
            <a:avLst/>
            <a:gdLst/>
            <a:ahLst/>
            <a:cxnLst/>
            <a:rect l="l" t="t" r="r" b="b"/>
            <a:pathLst>
              <a:path w="47" h="45" extrusionOk="0">
                <a:moveTo>
                  <a:pt x="29" y="3"/>
                </a:moveTo>
                <a:cubicBezTo>
                  <a:pt x="28" y="1"/>
                  <a:pt x="26" y="0"/>
                  <a:pt x="24" y="0"/>
                </a:cubicBezTo>
                <a:cubicBezTo>
                  <a:pt x="4" y="0"/>
                  <a:pt x="4" y="0"/>
                  <a:pt x="4" y="0"/>
                </a:cubicBezTo>
                <a:cubicBezTo>
                  <a:pt x="1" y="0"/>
                  <a:pt x="0" y="2"/>
                  <a:pt x="1" y="5"/>
                </a:cubicBezTo>
                <a:cubicBezTo>
                  <a:pt x="11" y="28"/>
                  <a:pt x="11" y="28"/>
                  <a:pt x="11" y="28"/>
                </a:cubicBezTo>
                <a:cubicBezTo>
                  <a:pt x="16" y="38"/>
                  <a:pt x="27" y="45"/>
                  <a:pt x="38" y="45"/>
                </a:cubicBezTo>
                <a:cubicBezTo>
                  <a:pt x="47" y="45"/>
                  <a:pt x="47" y="45"/>
                  <a:pt x="47" y="45"/>
                </a:cubicBezTo>
                <a:lnTo>
                  <a:pt x="29" y="3"/>
                </a:lnTo>
                <a:close/>
              </a:path>
            </a:pathLst>
          </a:custGeom>
          <a:solidFill>
            <a:srgbClr val="38B64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404" name="Google Shape;2404;p123"/>
          <p:cNvSpPr/>
          <p:nvPr/>
        </p:nvSpPr>
        <p:spPr>
          <a:xfrm>
            <a:off x="6299813" y="542925"/>
            <a:ext cx="2852070" cy="4063995"/>
          </a:xfrm>
          <a:custGeom>
            <a:avLst/>
            <a:gdLst/>
            <a:ahLst/>
            <a:cxnLst/>
            <a:rect l="l" t="t" r="r" b="b"/>
            <a:pathLst>
              <a:path w="3802760" h="5418660" extrusionOk="0">
                <a:moveTo>
                  <a:pt x="3451459" y="0"/>
                </a:moveTo>
                <a:cubicBezTo>
                  <a:pt x="3451459" y="0"/>
                  <a:pt x="3451459" y="0"/>
                  <a:pt x="3797279" y="0"/>
                </a:cubicBezTo>
                <a:lnTo>
                  <a:pt x="3802760" y="0"/>
                </a:lnTo>
                <a:lnTo>
                  <a:pt x="3802760" y="1628912"/>
                </a:lnTo>
                <a:lnTo>
                  <a:pt x="3778753" y="1683708"/>
                </a:lnTo>
                <a:cubicBezTo>
                  <a:pt x="3453018" y="2427195"/>
                  <a:pt x="2956660" y="3560126"/>
                  <a:pt x="2200305" y="5286498"/>
                </a:cubicBezTo>
                <a:cubicBezTo>
                  <a:pt x="2157162" y="5374606"/>
                  <a:pt x="2070875" y="5418660"/>
                  <a:pt x="1941446" y="5418660"/>
                </a:cubicBezTo>
                <a:cubicBezTo>
                  <a:pt x="1941446" y="5418660"/>
                  <a:pt x="1941446" y="5418660"/>
                  <a:pt x="1380584" y="5418660"/>
                </a:cubicBezTo>
                <a:cubicBezTo>
                  <a:pt x="1251154" y="5418660"/>
                  <a:pt x="1164867" y="5374606"/>
                  <a:pt x="1164867" y="5286498"/>
                </a:cubicBezTo>
                <a:cubicBezTo>
                  <a:pt x="1164867" y="5286498"/>
                  <a:pt x="1164867" y="5286498"/>
                  <a:pt x="0" y="2687303"/>
                </a:cubicBezTo>
                <a:cubicBezTo>
                  <a:pt x="0" y="2687303"/>
                  <a:pt x="0" y="2687303"/>
                  <a:pt x="388289" y="2687303"/>
                </a:cubicBezTo>
                <a:cubicBezTo>
                  <a:pt x="862865" y="2687303"/>
                  <a:pt x="1294297" y="2951628"/>
                  <a:pt x="1510013" y="3436224"/>
                </a:cubicBezTo>
                <a:cubicBezTo>
                  <a:pt x="1510013" y="3436224"/>
                  <a:pt x="1510013" y="3436224"/>
                  <a:pt x="1725729" y="3920819"/>
                </a:cubicBezTo>
                <a:cubicBezTo>
                  <a:pt x="1725729" y="3920819"/>
                  <a:pt x="1725729" y="3920819"/>
                  <a:pt x="3235742" y="176217"/>
                </a:cubicBezTo>
                <a:cubicBezTo>
                  <a:pt x="3278886" y="88108"/>
                  <a:pt x="3365172" y="0"/>
                  <a:pt x="3451459" y="0"/>
                </a:cubicBezTo>
                <a:close/>
              </a:path>
            </a:pathLst>
          </a:custGeom>
          <a:solidFill>
            <a:schemeClr val="lt1">
              <a:alpha val="9800"/>
            </a:scheme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2405" name="Google Shape;2405;p123"/>
          <p:cNvCxnSpPr/>
          <p:nvPr/>
        </p:nvCxnSpPr>
        <p:spPr>
          <a:xfrm>
            <a:off x="929434" y="-4"/>
            <a:ext cx="0" cy="2892375"/>
          </a:xfrm>
          <a:prstGeom prst="straightConnector1">
            <a:avLst/>
          </a:prstGeom>
          <a:noFill/>
          <a:ln w="9525" cap="flat" cmpd="sng">
            <a:solidFill>
              <a:srgbClr val="00C43C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2406" name="Google Shape;2406;p123"/>
          <p:cNvCxnSpPr/>
          <p:nvPr/>
        </p:nvCxnSpPr>
        <p:spPr>
          <a:xfrm>
            <a:off x="-934278" y="3349487"/>
            <a:ext cx="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07" name="Google Shape;2407;p123"/>
          <p:cNvSpPr txBox="1">
            <a:spLocks noGrp="1"/>
          </p:cNvSpPr>
          <p:nvPr>
            <p:ph type="title"/>
          </p:nvPr>
        </p:nvSpPr>
        <p:spPr>
          <a:xfrm>
            <a:off x="704429" y="2948368"/>
            <a:ext cx="4466475" cy="14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Montserrat"/>
              <a:buNone/>
              <a:defRPr sz="36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425"/>
            </a:lvl9pPr>
          </a:lstStyle>
          <a:p>
            <a:endParaRPr/>
          </a:p>
        </p:txBody>
      </p:sp>
      <p:sp>
        <p:nvSpPr>
          <p:cNvPr id="2408" name="Google Shape;2408;p123"/>
          <p:cNvSpPr/>
          <p:nvPr/>
        </p:nvSpPr>
        <p:spPr>
          <a:xfrm>
            <a:off x="6299813" y="542924"/>
            <a:ext cx="2852070" cy="4063995"/>
          </a:xfrm>
          <a:custGeom>
            <a:avLst/>
            <a:gdLst/>
            <a:ahLst/>
            <a:cxnLst/>
            <a:rect l="l" t="t" r="r" b="b"/>
            <a:pathLst>
              <a:path w="3802760" h="5418660" extrusionOk="0">
                <a:moveTo>
                  <a:pt x="3451459" y="0"/>
                </a:moveTo>
                <a:cubicBezTo>
                  <a:pt x="3451459" y="0"/>
                  <a:pt x="3451459" y="0"/>
                  <a:pt x="3797279" y="0"/>
                </a:cubicBezTo>
                <a:lnTo>
                  <a:pt x="3802760" y="0"/>
                </a:lnTo>
                <a:lnTo>
                  <a:pt x="3802760" y="1628912"/>
                </a:lnTo>
                <a:lnTo>
                  <a:pt x="3778753" y="1683708"/>
                </a:lnTo>
                <a:cubicBezTo>
                  <a:pt x="3453018" y="2427195"/>
                  <a:pt x="2956660" y="3560126"/>
                  <a:pt x="2200305" y="5286498"/>
                </a:cubicBezTo>
                <a:cubicBezTo>
                  <a:pt x="2157162" y="5374606"/>
                  <a:pt x="2070875" y="5418660"/>
                  <a:pt x="1941446" y="5418660"/>
                </a:cubicBezTo>
                <a:cubicBezTo>
                  <a:pt x="1941446" y="5418660"/>
                  <a:pt x="1941446" y="5418660"/>
                  <a:pt x="1380584" y="5418660"/>
                </a:cubicBezTo>
                <a:cubicBezTo>
                  <a:pt x="1251154" y="5418660"/>
                  <a:pt x="1164867" y="5374606"/>
                  <a:pt x="1164867" y="5286498"/>
                </a:cubicBezTo>
                <a:cubicBezTo>
                  <a:pt x="1164867" y="5286498"/>
                  <a:pt x="1164867" y="5286498"/>
                  <a:pt x="0" y="2687303"/>
                </a:cubicBezTo>
                <a:cubicBezTo>
                  <a:pt x="0" y="2687303"/>
                  <a:pt x="0" y="2687303"/>
                  <a:pt x="388289" y="2687303"/>
                </a:cubicBezTo>
                <a:cubicBezTo>
                  <a:pt x="862865" y="2687303"/>
                  <a:pt x="1294297" y="2951628"/>
                  <a:pt x="1510013" y="3436224"/>
                </a:cubicBezTo>
                <a:cubicBezTo>
                  <a:pt x="1510013" y="3436224"/>
                  <a:pt x="1510013" y="3436224"/>
                  <a:pt x="1725729" y="3920819"/>
                </a:cubicBezTo>
                <a:cubicBezTo>
                  <a:pt x="1725729" y="3920819"/>
                  <a:pt x="1725729" y="3920819"/>
                  <a:pt x="3235742" y="176217"/>
                </a:cubicBezTo>
                <a:cubicBezTo>
                  <a:pt x="3278886" y="88108"/>
                  <a:pt x="3365172" y="0"/>
                  <a:pt x="3451459" y="0"/>
                </a:cubicBezTo>
                <a:close/>
              </a:path>
            </a:pathLst>
          </a:custGeom>
          <a:solidFill>
            <a:schemeClr val="lt1">
              <a:alpha val="9800"/>
            </a:schemeClr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25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8726611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-EV Arrow Bullet">
  <p:cSld name="Bullets-EV Arrow Bullet"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3" name="Google Shape;703;p34"/>
          <p:cNvGrpSpPr/>
          <p:nvPr/>
        </p:nvGrpSpPr>
        <p:grpSpPr>
          <a:xfrm>
            <a:off x="-2185" y="-32"/>
            <a:ext cx="9156606" cy="40140"/>
            <a:chOff x="741309" y="1283369"/>
            <a:chExt cx="1636745" cy="280800"/>
          </a:xfrm>
        </p:grpSpPr>
        <p:sp>
          <p:nvSpPr>
            <p:cNvPr id="704" name="Google Shape;704;p34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34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6" name="Google Shape;706;p34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7" name="Google Shape;707;p34"/>
          <p:cNvSpPr txBox="1"/>
          <p:nvPr/>
        </p:nvSpPr>
        <p:spPr>
          <a:xfrm>
            <a:off x="8806061" y="4917985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fld id="{00000000-1234-1234-1234-123412341234}" type="slidenum">
              <a:rPr lang="en-US" sz="78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08" name="Google Shape;708;p34"/>
          <p:cNvGrpSpPr/>
          <p:nvPr/>
        </p:nvGrpSpPr>
        <p:grpSpPr>
          <a:xfrm>
            <a:off x="8620531" y="4835757"/>
            <a:ext cx="260312" cy="307693"/>
            <a:chOff x="5761539" y="3843374"/>
            <a:chExt cx="1772633" cy="1745774"/>
          </a:xfrm>
        </p:grpSpPr>
        <p:sp>
          <p:nvSpPr>
            <p:cNvPr id="709" name="Google Shape;709;p34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710;p34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11" name="Google Shape;711;p34"/>
          <p:cNvGrpSpPr/>
          <p:nvPr/>
        </p:nvGrpSpPr>
        <p:grpSpPr>
          <a:xfrm>
            <a:off x="117916" y="4869182"/>
            <a:ext cx="833991" cy="152300"/>
            <a:chOff x="2911" y="1991"/>
            <a:chExt cx="1862" cy="340"/>
          </a:xfrm>
        </p:grpSpPr>
        <p:sp>
          <p:nvSpPr>
            <p:cNvPr id="712" name="Google Shape;712;p34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3" name="Google Shape;713;p34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34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5" name="Google Shape;715;p34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6" name="Google Shape;716;p34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7" name="Google Shape;717;p34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8" name="Google Shape;718;p34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719;p34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" name="Google Shape;720;p34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1" name="Google Shape;721;p34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722" name="Google Shape;722;p34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23" name="Google Shape;723;p34"/>
          <p:cNvCxnSpPr/>
          <p:nvPr/>
        </p:nvCxnSpPr>
        <p:spPr>
          <a:xfrm>
            <a:off x="8871522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00C43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4" name="Google Shape;724;p34"/>
          <p:cNvSpPr txBox="1"/>
          <p:nvPr/>
        </p:nvSpPr>
        <p:spPr>
          <a:xfrm>
            <a:off x="8817810" y="4904098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fld id="{00000000-1234-1234-1234-123412341234}" type="slidenum">
              <a:rPr lang="en-US" sz="788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50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5" name="Google Shape;725;p34"/>
          <p:cNvSpPr txBox="1">
            <a:spLocks noGrp="1"/>
          </p:cNvSpPr>
          <p:nvPr>
            <p:ph type="body" idx="1"/>
          </p:nvPr>
        </p:nvSpPr>
        <p:spPr>
          <a:xfrm>
            <a:off x="230885" y="630720"/>
            <a:ext cx="8521425" cy="4134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429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30480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95959"/>
              </a:buClr>
              <a:buSzPts val="28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28575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C43C"/>
              </a:buClr>
              <a:buSzPts val="2400"/>
              <a:buFont typeface="Montserrat Light"/>
              <a:buChar char="−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6" name="Google Shape;726;p34"/>
          <p:cNvSpPr txBox="1">
            <a:spLocks noGrp="1"/>
          </p:cNvSpPr>
          <p:nvPr>
            <p:ph type="title"/>
          </p:nvPr>
        </p:nvSpPr>
        <p:spPr>
          <a:xfrm>
            <a:off x="99080" y="127103"/>
            <a:ext cx="5105475" cy="374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C43C"/>
              </a:buClr>
              <a:buSzPts val="3200"/>
              <a:buFont typeface="Calibri"/>
              <a:buNone/>
              <a:defRPr sz="2400" b="1" i="0" u="none" strike="noStrike" cap="none">
                <a:solidFill>
                  <a:srgbClr val="00C43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98910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Line+Text Slide">
  <p:cSld name="HeadLine+Text Slide">
    <p:spTree>
      <p:nvGrpSpPr>
        <p:cNvPr id="1" name="Shape 3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7" name="Google Shape;3917;p198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sz="10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8" name="Google Shape;3918;p198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1"/>
              <a:buFont typeface="Arial"/>
              <a:buNone/>
            </a:pPr>
            <a:fld id="{00000000-1234-1234-1234-123412341234}" type="slidenum">
              <a:rPr lang="en-US" sz="78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51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919" name="Google Shape;3919;p198"/>
          <p:cNvGrpSpPr/>
          <p:nvPr/>
        </p:nvGrpSpPr>
        <p:grpSpPr>
          <a:xfrm>
            <a:off x="8620529" y="4835757"/>
            <a:ext cx="260312" cy="307693"/>
            <a:chOff x="5761539" y="3843374"/>
            <a:chExt cx="1772633" cy="1745774"/>
          </a:xfrm>
        </p:grpSpPr>
        <p:sp>
          <p:nvSpPr>
            <p:cNvPr id="3920" name="Google Shape;3920;p198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1" name="Google Shape;3921;p198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922" name="Google Shape;3922;p198"/>
          <p:cNvGrpSpPr/>
          <p:nvPr/>
        </p:nvGrpSpPr>
        <p:grpSpPr>
          <a:xfrm>
            <a:off x="117916" y="4869181"/>
            <a:ext cx="833992" cy="152301"/>
            <a:chOff x="2911" y="1991"/>
            <a:chExt cx="1862" cy="340"/>
          </a:xfrm>
        </p:grpSpPr>
        <p:sp>
          <p:nvSpPr>
            <p:cNvPr id="3923" name="Google Shape;3923;p198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4" name="Google Shape;3924;p198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5" name="Google Shape;3925;p198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6" name="Google Shape;3926;p198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7" name="Google Shape;3927;p198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8" name="Google Shape;3928;p198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29" name="Google Shape;3929;p198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0" name="Google Shape;3930;p198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1" name="Google Shape;3931;p198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2" name="Google Shape;3932;p198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933" name="Google Shape;3933;p198"/>
          <p:cNvCxnSpPr/>
          <p:nvPr/>
        </p:nvCxnSpPr>
        <p:spPr>
          <a:xfrm>
            <a:off x="1006484" y="4956687"/>
            <a:ext cx="7619175" cy="0"/>
          </a:xfrm>
          <a:prstGeom prst="straightConnector1">
            <a:avLst/>
          </a:prstGeom>
          <a:noFill/>
          <a:ln w="19050" cap="flat" cmpd="sng">
            <a:solidFill>
              <a:srgbClr val="4DD67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934" name="Google Shape;3934;p198"/>
          <p:cNvCxnSpPr/>
          <p:nvPr/>
        </p:nvCxnSpPr>
        <p:spPr>
          <a:xfrm>
            <a:off x="8871523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4DD67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5" name="Google Shape;3935;p198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51"/>
              <a:buFont typeface="Calibri"/>
              <a:buNone/>
            </a:pPr>
            <a:fld id="{00000000-1234-1234-1234-123412341234}" type="slidenum">
              <a:rPr lang="en-US" sz="788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51"/>
                <a:buFont typeface="Calibri"/>
                <a:buNone/>
              </a:pPr>
              <a:t>‹#›</a:t>
            </a:fld>
            <a:endParaRPr sz="900" b="1" i="0" u="none" strike="noStrike" cap="none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6" name="Google Shape;3936;p198"/>
          <p:cNvSpPr/>
          <p:nvPr/>
        </p:nvSpPr>
        <p:spPr>
          <a:xfrm>
            <a:off x="8651702" y="4836799"/>
            <a:ext cx="495459" cy="309517"/>
          </a:xfrm>
          <a:custGeom>
            <a:avLst/>
            <a:gdLst/>
            <a:ahLst/>
            <a:cxnLst/>
            <a:rect l="l" t="t" r="r" b="b"/>
            <a:pathLst>
              <a:path w="660612" h="230875" extrusionOk="0">
                <a:moveTo>
                  <a:pt x="279413" y="1179"/>
                </a:moveTo>
                <a:lnTo>
                  <a:pt x="660612" y="0"/>
                </a:lnTo>
                <a:cubicBezTo>
                  <a:pt x="659207" y="72191"/>
                  <a:pt x="657803" y="157352"/>
                  <a:pt x="656398" y="229543"/>
                </a:cubicBezTo>
                <a:lnTo>
                  <a:pt x="220592" y="229543"/>
                </a:lnTo>
                <a:lnTo>
                  <a:pt x="78749" y="230875"/>
                </a:lnTo>
                <a:lnTo>
                  <a:pt x="0" y="83203"/>
                </a:lnTo>
                <a:lnTo>
                  <a:pt x="108520" y="225525"/>
                </a:lnTo>
                <a:cubicBezTo>
                  <a:pt x="162675" y="135808"/>
                  <a:pt x="225258" y="90896"/>
                  <a:pt x="279413" y="1179"/>
                </a:cubicBez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sz="10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7" name="Google Shape;3937;p198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51"/>
              <a:buFont typeface="Arial"/>
              <a:buNone/>
            </a:pPr>
            <a:fld id="{00000000-1234-1234-1234-123412341234}" type="slidenum">
              <a:rPr lang="en-US" sz="78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51"/>
                <a:buFont typeface="Arial"/>
                <a:buNone/>
              </a:pPr>
              <a:t>‹#›</a:t>
            </a:fld>
            <a:endParaRPr sz="9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938" name="Google Shape;3938;p198"/>
          <p:cNvGrpSpPr/>
          <p:nvPr/>
        </p:nvGrpSpPr>
        <p:grpSpPr>
          <a:xfrm>
            <a:off x="8620529" y="4835757"/>
            <a:ext cx="260312" cy="307693"/>
            <a:chOff x="5761539" y="3843374"/>
            <a:chExt cx="1772633" cy="1745774"/>
          </a:xfrm>
        </p:grpSpPr>
        <p:sp>
          <p:nvSpPr>
            <p:cNvPr id="3939" name="Google Shape;3939;p198"/>
            <p:cNvSpPr/>
            <p:nvPr/>
          </p:nvSpPr>
          <p:spPr>
            <a:xfrm>
              <a:off x="6382987" y="3843374"/>
              <a:ext cx="1151185" cy="1739075"/>
            </a:xfrm>
            <a:custGeom>
              <a:avLst/>
              <a:gdLst/>
              <a:ahLst/>
              <a:cxnLst/>
              <a:rect l="l" t="t" r="r" b="b"/>
              <a:pathLst>
                <a:path w="1068385" h="2045971" extrusionOk="0">
                  <a:moveTo>
                    <a:pt x="684387" y="0"/>
                  </a:moveTo>
                  <a:cubicBezTo>
                    <a:pt x="684387" y="0"/>
                    <a:pt x="684387" y="0"/>
                    <a:pt x="1010464" y="0"/>
                  </a:cubicBezTo>
                  <a:cubicBezTo>
                    <a:pt x="1061950" y="0"/>
                    <a:pt x="1079112" y="52573"/>
                    <a:pt x="1061950" y="105146"/>
                  </a:cubicBezTo>
                  <a:cubicBezTo>
                    <a:pt x="1061950" y="105146"/>
                    <a:pt x="1061950" y="105146"/>
                    <a:pt x="266208" y="1921427"/>
                  </a:cubicBezTo>
                  <a:lnTo>
                    <a:pt x="211644" y="2045971"/>
                  </a:lnTo>
                  <a:lnTo>
                    <a:pt x="0" y="1554487"/>
                  </a:lnTo>
                  <a:lnTo>
                    <a:pt x="1868" y="1549852"/>
                  </a:lnTo>
                  <a:cubicBezTo>
                    <a:pt x="19026" y="1507303"/>
                    <a:pt x="110534" y="1280376"/>
                    <a:pt x="598577" y="70098"/>
                  </a:cubicBezTo>
                  <a:cubicBezTo>
                    <a:pt x="615739" y="35049"/>
                    <a:pt x="650063" y="0"/>
                    <a:pt x="684387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0" name="Google Shape;3940;p198"/>
            <p:cNvSpPr/>
            <p:nvPr/>
          </p:nvSpPr>
          <p:spPr>
            <a:xfrm>
              <a:off x="5761539" y="4502636"/>
              <a:ext cx="900214" cy="1086512"/>
            </a:xfrm>
            <a:custGeom>
              <a:avLst/>
              <a:gdLst/>
              <a:ahLst/>
              <a:cxnLst/>
              <a:rect l="l" t="t" r="r" b="b"/>
              <a:pathLst>
                <a:path w="900214" h="1086512" extrusionOk="0">
                  <a:moveTo>
                    <a:pt x="0" y="0"/>
                  </a:moveTo>
                  <a:cubicBezTo>
                    <a:pt x="0" y="0"/>
                    <a:pt x="0" y="0"/>
                    <a:pt x="154458" y="0"/>
                  </a:cubicBezTo>
                  <a:cubicBezTo>
                    <a:pt x="343239" y="0"/>
                    <a:pt x="514859" y="105146"/>
                    <a:pt x="600669" y="297915"/>
                  </a:cubicBezTo>
                  <a:cubicBezTo>
                    <a:pt x="600669" y="297915"/>
                    <a:pt x="600669" y="297915"/>
                    <a:pt x="686479" y="490683"/>
                  </a:cubicBezTo>
                  <a:cubicBezTo>
                    <a:pt x="686479" y="490683"/>
                    <a:pt x="686479" y="490683"/>
                    <a:pt x="687652" y="487774"/>
                  </a:cubicBezTo>
                  <a:lnTo>
                    <a:pt x="688570" y="485499"/>
                  </a:lnTo>
                  <a:lnTo>
                    <a:pt x="900214" y="976983"/>
                  </a:lnTo>
                  <a:lnTo>
                    <a:pt x="875260" y="1033939"/>
                  </a:lnTo>
                  <a:cubicBezTo>
                    <a:pt x="858098" y="1068988"/>
                    <a:pt x="823774" y="1086512"/>
                    <a:pt x="772288" y="1086512"/>
                  </a:cubicBezTo>
                  <a:cubicBezTo>
                    <a:pt x="772288" y="1086512"/>
                    <a:pt x="772288" y="1086512"/>
                    <a:pt x="549183" y="1086512"/>
                  </a:cubicBezTo>
                  <a:cubicBezTo>
                    <a:pt x="497697" y="1086512"/>
                    <a:pt x="463373" y="1068988"/>
                    <a:pt x="463373" y="1033939"/>
                  </a:cubicBezTo>
                  <a:cubicBezTo>
                    <a:pt x="463373" y="1033939"/>
                    <a:pt x="463373" y="1033939"/>
                    <a:pt x="0" y="0"/>
                  </a:cubicBez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941" name="Google Shape;3941;p198"/>
          <p:cNvGrpSpPr/>
          <p:nvPr/>
        </p:nvGrpSpPr>
        <p:grpSpPr>
          <a:xfrm>
            <a:off x="117916" y="4869181"/>
            <a:ext cx="833992" cy="152301"/>
            <a:chOff x="2911" y="1991"/>
            <a:chExt cx="1862" cy="340"/>
          </a:xfrm>
        </p:grpSpPr>
        <p:sp>
          <p:nvSpPr>
            <p:cNvPr id="3942" name="Google Shape;3942;p198"/>
            <p:cNvSpPr/>
            <p:nvPr/>
          </p:nvSpPr>
          <p:spPr>
            <a:xfrm>
              <a:off x="3652" y="2088"/>
              <a:ext cx="90" cy="88"/>
            </a:xfrm>
            <a:custGeom>
              <a:avLst/>
              <a:gdLst/>
              <a:ahLst/>
              <a:cxnLst/>
              <a:rect l="l" t="t" r="r" b="b"/>
              <a:pathLst>
                <a:path w="47" h="45" extrusionOk="0">
                  <a:moveTo>
                    <a:pt x="29" y="3"/>
                  </a:moveTo>
                  <a:cubicBezTo>
                    <a:pt x="28" y="1"/>
                    <a:pt x="26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1" y="5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6" y="38"/>
                    <a:pt x="27" y="45"/>
                    <a:pt x="38" y="45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9" y="3"/>
                  </a:lnTo>
                  <a:close/>
                </a:path>
              </a:pathLst>
            </a:custGeom>
            <a:solidFill>
              <a:srgbClr val="4DD677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3" name="Google Shape;3943;p198"/>
            <p:cNvSpPr/>
            <p:nvPr/>
          </p:nvSpPr>
          <p:spPr>
            <a:xfrm>
              <a:off x="2911" y="2082"/>
              <a:ext cx="231" cy="249"/>
            </a:xfrm>
            <a:custGeom>
              <a:avLst/>
              <a:gdLst/>
              <a:ahLst/>
              <a:cxnLst/>
              <a:rect l="l" t="t" r="r" b="b"/>
              <a:pathLst>
                <a:path w="121" h="128" extrusionOk="0">
                  <a:moveTo>
                    <a:pt x="121" y="67"/>
                  </a:moveTo>
                  <a:cubicBezTo>
                    <a:pt x="121" y="70"/>
                    <a:pt x="120" y="72"/>
                    <a:pt x="117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9" y="91"/>
                    <a:pt x="46" y="105"/>
                    <a:pt x="69" y="105"/>
                  </a:cubicBezTo>
                  <a:cubicBezTo>
                    <a:pt x="83" y="105"/>
                    <a:pt x="93" y="100"/>
                    <a:pt x="100" y="95"/>
                  </a:cubicBezTo>
                  <a:cubicBezTo>
                    <a:pt x="102" y="93"/>
                    <a:pt x="104" y="94"/>
                    <a:pt x="106" y="96"/>
                  </a:cubicBezTo>
                  <a:cubicBezTo>
                    <a:pt x="113" y="108"/>
                    <a:pt x="113" y="108"/>
                    <a:pt x="113" y="108"/>
                  </a:cubicBezTo>
                  <a:cubicBezTo>
                    <a:pt x="114" y="110"/>
                    <a:pt x="114" y="112"/>
                    <a:pt x="112" y="114"/>
                  </a:cubicBezTo>
                  <a:cubicBezTo>
                    <a:pt x="103" y="121"/>
                    <a:pt x="88" y="128"/>
                    <a:pt x="66" y="128"/>
                  </a:cubicBezTo>
                  <a:cubicBezTo>
                    <a:pt x="28" y="128"/>
                    <a:pt x="0" y="101"/>
                    <a:pt x="0" y="64"/>
                  </a:cubicBezTo>
                  <a:cubicBezTo>
                    <a:pt x="0" y="28"/>
                    <a:pt x="26" y="0"/>
                    <a:pt x="63" y="0"/>
                  </a:cubicBezTo>
                  <a:cubicBezTo>
                    <a:pt x="98" y="0"/>
                    <a:pt x="121" y="26"/>
                    <a:pt x="121" y="63"/>
                  </a:cubicBezTo>
                  <a:lnTo>
                    <a:pt x="121" y="67"/>
                  </a:lnTo>
                  <a:close/>
                  <a:moveTo>
                    <a:pt x="26" y="53"/>
                  </a:moveTo>
                  <a:cubicBezTo>
                    <a:pt x="96" y="53"/>
                    <a:pt x="96" y="53"/>
                    <a:pt x="96" y="53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4" y="34"/>
                    <a:pt x="81" y="22"/>
                    <a:pt x="63" y="22"/>
                  </a:cubicBezTo>
                  <a:cubicBezTo>
                    <a:pt x="44" y="22"/>
                    <a:pt x="30" y="34"/>
                    <a:pt x="26" y="5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4" name="Google Shape;3944;p198"/>
            <p:cNvSpPr/>
            <p:nvPr/>
          </p:nvSpPr>
          <p:spPr>
            <a:xfrm>
              <a:off x="3173" y="2082"/>
              <a:ext cx="208" cy="249"/>
            </a:xfrm>
            <a:custGeom>
              <a:avLst/>
              <a:gdLst/>
              <a:ahLst/>
              <a:cxnLst/>
              <a:rect l="l" t="t" r="r" b="b"/>
              <a:pathLst>
                <a:path w="109" h="128" extrusionOk="0">
                  <a:moveTo>
                    <a:pt x="0" y="64"/>
                  </a:moveTo>
                  <a:cubicBezTo>
                    <a:pt x="0" y="28"/>
                    <a:pt x="29" y="0"/>
                    <a:pt x="67" y="0"/>
                  </a:cubicBezTo>
                  <a:cubicBezTo>
                    <a:pt x="86" y="0"/>
                    <a:pt x="98" y="6"/>
                    <a:pt x="106" y="11"/>
                  </a:cubicBezTo>
                  <a:cubicBezTo>
                    <a:pt x="109" y="13"/>
                    <a:pt x="109" y="15"/>
                    <a:pt x="108" y="18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9" y="32"/>
                    <a:pt x="97" y="32"/>
                    <a:pt x="95" y="31"/>
                  </a:cubicBezTo>
                  <a:cubicBezTo>
                    <a:pt x="88" y="27"/>
                    <a:pt x="80" y="25"/>
                    <a:pt x="70" y="25"/>
                  </a:cubicBezTo>
                  <a:cubicBezTo>
                    <a:pt x="44" y="25"/>
                    <a:pt x="27" y="41"/>
                    <a:pt x="27" y="64"/>
                  </a:cubicBezTo>
                  <a:cubicBezTo>
                    <a:pt x="27" y="87"/>
                    <a:pt x="44" y="104"/>
                    <a:pt x="69" y="104"/>
                  </a:cubicBezTo>
                  <a:cubicBezTo>
                    <a:pt x="81" y="104"/>
                    <a:pt x="88" y="101"/>
                    <a:pt x="95" y="97"/>
                  </a:cubicBezTo>
                  <a:cubicBezTo>
                    <a:pt x="97" y="96"/>
                    <a:pt x="99" y="96"/>
                    <a:pt x="100" y="98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9" y="114"/>
                    <a:pt x="108" y="116"/>
                    <a:pt x="106" y="117"/>
                  </a:cubicBezTo>
                  <a:cubicBezTo>
                    <a:pt x="99" y="121"/>
                    <a:pt x="87" y="128"/>
                    <a:pt x="67" y="128"/>
                  </a:cubicBezTo>
                  <a:cubicBezTo>
                    <a:pt x="27" y="128"/>
                    <a:pt x="0" y="100"/>
                    <a:pt x="0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5" name="Google Shape;3945;p198"/>
            <p:cNvSpPr/>
            <p:nvPr/>
          </p:nvSpPr>
          <p:spPr>
            <a:xfrm>
              <a:off x="3396" y="2084"/>
              <a:ext cx="250" cy="247"/>
            </a:xfrm>
            <a:custGeom>
              <a:avLst/>
              <a:gdLst/>
              <a:ahLst/>
              <a:cxnLst/>
              <a:rect l="l" t="t" r="r" b="b"/>
              <a:pathLst>
                <a:path w="131" h="127" extrusionOk="0">
                  <a:moveTo>
                    <a:pt x="0" y="63"/>
                  </a:moveTo>
                  <a:cubicBezTo>
                    <a:pt x="0" y="27"/>
                    <a:pt x="30" y="0"/>
                    <a:pt x="66" y="0"/>
                  </a:cubicBezTo>
                  <a:cubicBezTo>
                    <a:pt x="101" y="0"/>
                    <a:pt x="131" y="27"/>
                    <a:pt x="131" y="63"/>
                  </a:cubicBezTo>
                  <a:cubicBezTo>
                    <a:pt x="131" y="100"/>
                    <a:pt x="101" y="127"/>
                    <a:pt x="66" y="127"/>
                  </a:cubicBezTo>
                  <a:cubicBezTo>
                    <a:pt x="30" y="127"/>
                    <a:pt x="0" y="100"/>
                    <a:pt x="0" y="63"/>
                  </a:cubicBezTo>
                  <a:moveTo>
                    <a:pt x="104" y="63"/>
                  </a:moveTo>
                  <a:cubicBezTo>
                    <a:pt x="104" y="41"/>
                    <a:pt x="87" y="24"/>
                    <a:pt x="66" y="24"/>
                  </a:cubicBezTo>
                  <a:cubicBezTo>
                    <a:pt x="44" y="24"/>
                    <a:pt x="27" y="41"/>
                    <a:pt x="27" y="63"/>
                  </a:cubicBezTo>
                  <a:cubicBezTo>
                    <a:pt x="27" y="85"/>
                    <a:pt x="44" y="103"/>
                    <a:pt x="66" y="103"/>
                  </a:cubicBezTo>
                  <a:cubicBezTo>
                    <a:pt x="87" y="103"/>
                    <a:pt x="104" y="85"/>
                    <a:pt x="104" y="6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6" name="Google Shape;3946;p198"/>
            <p:cNvSpPr/>
            <p:nvPr/>
          </p:nvSpPr>
          <p:spPr>
            <a:xfrm>
              <a:off x="3906" y="2082"/>
              <a:ext cx="244" cy="249"/>
            </a:xfrm>
            <a:custGeom>
              <a:avLst/>
              <a:gdLst/>
              <a:ahLst/>
              <a:cxnLst/>
              <a:rect l="l" t="t" r="r" b="b"/>
              <a:pathLst>
                <a:path w="128" h="128" extrusionOk="0">
                  <a:moveTo>
                    <a:pt x="128" y="7"/>
                  </a:moveTo>
                  <a:cubicBezTo>
                    <a:pt x="128" y="121"/>
                    <a:pt x="128" y="121"/>
                    <a:pt x="128" y="121"/>
                  </a:cubicBezTo>
                  <a:cubicBezTo>
                    <a:pt x="128" y="124"/>
                    <a:pt x="126" y="125"/>
                    <a:pt x="123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6" y="125"/>
                    <a:pt x="104" y="124"/>
                    <a:pt x="104" y="121"/>
                  </a:cubicBezTo>
                  <a:cubicBezTo>
                    <a:pt x="104" y="106"/>
                    <a:pt x="104" y="106"/>
                    <a:pt x="104" y="106"/>
                  </a:cubicBezTo>
                  <a:cubicBezTo>
                    <a:pt x="94" y="118"/>
                    <a:pt x="80" y="128"/>
                    <a:pt x="59" y="128"/>
                  </a:cubicBezTo>
                  <a:cubicBezTo>
                    <a:pt x="25" y="128"/>
                    <a:pt x="0" y="101"/>
                    <a:pt x="0" y="64"/>
                  </a:cubicBezTo>
                  <a:cubicBezTo>
                    <a:pt x="0" y="28"/>
                    <a:pt x="26" y="0"/>
                    <a:pt x="59" y="0"/>
                  </a:cubicBezTo>
                  <a:cubicBezTo>
                    <a:pt x="79" y="0"/>
                    <a:pt x="93" y="8"/>
                    <a:pt x="103" y="1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4"/>
                    <a:pt x="105" y="3"/>
                    <a:pt x="108" y="3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6" y="3"/>
                    <a:pt x="128" y="4"/>
                    <a:pt x="128" y="7"/>
                  </a:cubicBezTo>
                  <a:moveTo>
                    <a:pt x="103" y="64"/>
                  </a:moveTo>
                  <a:cubicBezTo>
                    <a:pt x="102" y="41"/>
                    <a:pt x="87" y="25"/>
                    <a:pt x="64" y="25"/>
                  </a:cubicBezTo>
                  <a:cubicBezTo>
                    <a:pt x="43" y="25"/>
                    <a:pt x="26" y="41"/>
                    <a:pt x="26" y="64"/>
                  </a:cubicBezTo>
                  <a:cubicBezTo>
                    <a:pt x="26" y="87"/>
                    <a:pt x="43" y="104"/>
                    <a:pt x="64" y="104"/>
                  </a:cubicBezTo>
                  <a:cubicBezTo>
                    <a:pt x="87" y="104"/>
                    <a:pt x="103" y="87"/>
                    <a:pt x="103" y="6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7" name="Google Shape;3947;p198"/>
            <p:cNvSpPr/>
            <p:nvPr/>
          </p:nvSpPr>
          <p:spPr>
            <a:xfrm>
              <a:off x="4190" y="1991"/>
              <a:ext cx="245" cy="340"/>
            </a:xfrm>
            <a:custGeom>
              <a:avLst/>
              <a:gdLst/>
              <a:ahLst/>
              <a:cxnLst/>
              <a:rect l="l" t="t" r="r" b="b"/>
              <a:pathLst>
                <a:path w="128" h="175" extrusionOk="0">
                  <a:moveTo>
                    <a:pt x="128" y="4"/>
                  </a:moveTo>
                  <a:cubicBezTo>
                    <a:pt x="128" y="168"/>
                    <a:pt x="128" y="168"/>
                    <a:pt x="128" y="168"/>
                  </a:cubicBezTo>
                  <a:cubicBezTo>
                    <a:pt x="128" y="171"/>
                    <a:pt x="126" y="172"/>
                    <a:pt x="123" y="172"/>
                  </a:cubicBezTo>
                  <a:cubicBezTo>
                    <a:pt x="110" y="172"/>
                    <a:pt x="110" y="172"/>
                    <a:pt x="110" y="172"/>
                  </a:cubicBezTo>
                  <a:cubicBezTo>
                    <a:pt x="107" y="172"/>
                    <a:pt x="106" y="171"/>
                    <a:pt x="106" y="168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95" y="166"/>
                    <a:pt x="80" y="175"/>
                    <a:pt x="59" y="175"/>
                  </a:cubicBezTo>
                  <a:cubicBezTo>
                    <a:pt x="26" y="175"/>
                    <a:pt x="0" y="148"/>
                    <a:pt x="0" y="111"/>
                  </a:cubicBezTo>
                  <a:cubicBezTo>
                    <a:pt x="0" y="75"/>
                    <a:pt x="25" y="47"/>
                    <a:pt x="59" y="47"/>
                  </a:cubicBezTo>
                  <a:cubicBezTo>
                    <a:pt x="78" y="47"/>
                    <a:pt x="93" y="56"/>
                    <a:pt x="102" y="6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1"/>
                    <a:pt x="103" y="0"/>
                    <a:pt x="10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6" y="0"/>
                    <a:pt x="128" y="1"/>
                    <a:pt x="128" y="4"/>
                  </a:cubicBezTo>
                  <a:moveTo>
                    <a:pt x="103" y="111"/>
                  </a:moveTo>
                  <a:cubicBezTo>
                    <a:pt x="103" y="88"/>
                    <a:pt x="87" y="72"/>
                    <a:pt x="64" y="72"/>
                  </a:cubicBezTo>
                  <a:cubicBezTo>
                    <a:pt x="43" y="72"/>
                    <a:pt x="26" y="88"/>
                    <a:pt x="26" y="111"/>
                  </a:cubicBezTo>
                  <a:cubicBezTo>
                    <a:pt x="26" y="134"/>
                    <a:pt x="43" y="151"/>
                    <a:pt x="64" y="151"/>
                  </a:cubicBezTo>
                  <a:cubicBezTo>
                    <a:pt x="87" y="151"/>
                    <a:pt x="103" y="134"/>
                    <a:pt x="103" y="111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8" name="Google Shape;3948;p198"/>
            <p:cNvSpPr/>
            <p:nvPr/>
          </p:nvSpPr>
          <p:spPr>
            <a:xfrm>
              <a:off x="4490" y="2088"/>
              <a:ext cx="50" cy="237"/>
            </a:xfrm>
            <a:custGeom>
              <a:avLst/>
              <a:gdLst/>
              <a:ahLst/>
              <a:cxnLst/>
              <a:rect l="l" t="t" r="r" b="b"/>
              <a:pathLst>
                <a:path w="26" h="122" extrusionOk="0">
                  <a:moveTo>
                    <a:pt x="0" y="118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118"/>
                    <a:pt x="26" y="118"/>
                    <a:pt x="26" y="118"/>
                  </a:cubicBezTo>
                  <a:cubicBezTo>
                    <a:pt x="26" y="121"/>
                    <a:pt x="25" y="122"/>
                    <a:pt x="22" y="122"/>
                  </a:cubicBezTo>
                  <a:cubicBezTo>
                    <a:pt x="4" y="122"/>
                    <a:pt x="4" y="122"/>
                    <a:pt x="4" y="122"/>
                  </a:cubicBezTo>
                  <a:cubicBezTo>
                    <a:pt x="1" y="122"/>
                    <a:pt x="0" y="121"/>
                    <a:pt x="0" y="118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9" name="Google Shape;3949;p198"/>
            <p:cNvSpPr/>
            <p:nvPr/>
          </p:nvSpPr>
          <p:spPr>
            <a:xfrm>
              <a:off x="4490" y="1991"/>
              <a:ext cx="50" cy="53"/>
            </a:xfrm>
            <a:custGeom>
              <a:avLst/>
              <a:gdLst/>
              <a:ahLst/>
              <a:cxnLst/>
              <a:rect l="l" t="t" r="r" b="b"/>
              <a:pathLst>
                <a:path w="26" h="27" extrusionOk="0">
                  <a:moveTo>
                    <a:pt x="0" y="2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5" y="0"/>
                    <a:pt x="26" y="1"/>
                    <a:pt x="26" y="4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6"/>
                    <a:pt x="25" y="27"/>
                    <a:pt x="2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1" y="27"/>
                    <a:pt x="0" y="26"/>
                    <a:pt x="0" y="23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0" name="Google Shape;3950;p198"/>
            <p:cNvSpPr/>
            <p:nvPr/>
          </p:nvSpPr>
          <p:spPr>
            <a:xfrm>
              <a:off x="4580" y="2084"/>
              <a:ext cx="193" cy="247"/>
            </a:xfrm>
            <a:custGeom>
              <a:avLst/>
              <a:gdLst/>
              <a:ahLst/>
              <a:cxnLst/>
              <a:rect l="l" t="t" r="r" b="b"/>
              <a:pathLst>
                <a:path w="101" h="127" extrusionOk="0">
                  <a:moveTo>
                    <a:pt x="3" y="114"/>
                  </a:moveTo>
                  <a:cubicBezTo>
                    <a:pt x="0" y="113"/>
                    <a:pt x="0" y="111"/>
                    <a:pt x="1" y="108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10" y="93"/>
                    <a:pt x="12" y="92"/>
                    <a:pt x="14" y="94"/>
                  </a:cubicBezTo>
                  <a:cubicBezTo>
                    <a:pt x="24" y="100"/>
                    <a:pt x="36" y="105"/>
                    <a:pt x="52" y="105"/>
                  </a:cubicBezTo>
                  <a:cubicBezTo>
                    <a:pt x="65" y="105"/>
                    <a:pt x="74" y="100"/>
                    <a:pt x="74" y="91"/>
                  </a:cubicBezTo>
                  <a:cubicBezTo>
                    <a:pt x="74" y="82"/>
                    <a:pt x="67" y="78"/>
                    <a:pt x="48" y="73"/>
                  </a:cubicBezTo>
                  <a:cubicBezTo>
                    <a:pt x="24" y="67"/>
                    <a:pt x="4" y="58"/>
                    <a:pt x="4" y="36"/>
                  </a:cubicBezTo>
                  <a:cubicBezTo>
                    <a:pt x="4" y="14"/>
                    <a:pt x="23" y="0"/>
                    <a:pt x="52" y="0"/>
                  </a:cubicBezTo>
                  <a:cubicBezTo>
                    <a:pt x="71" y="0"/>
                    <a:pt x="85" y="4"/>
                    <a:pt x="96" y="11"/>
                  </a:cubicBezTo>
                  <a:cubicBezTo>
                    <a:pt x="98" y="12"/>
                    <a:pt x="99" y="14"/>
                    <a:pt x="97" y="17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89" y="31"/>
                    <a:pt x="87" y="32"/>
                    <a:pt x="84" y="30"/>
                  </a:cubicBezTo>
                  <a:cubicBezTo>
                    <a:pt x="74" y="25"/>
                    <a:pt x="64" y="22"/>
                    <a:pt x="51" y="22"/>
                  </a:cubicBezTo>
                  <a:cubicBezTo>
                    <a:pt x="39" y="22"/>
                    <a:pt x="31" y="25"/>
                    <a:pt x="31" y="35"/>
                  </a:cubicBezTo>
                  <a:cubicBezTo>
                    <a:pt x="31" y="43"/>
                    <a:pt x="39" y="46"/>
                    <a:pt x="59" y="51"/>
                  </a:cubicBezTo>
                  <a:cubicBezTo>
                    <a:pt x="85" y="57"/>
                    <a:pt x="101" y="66"/>
                    <a:pt x="101" y="89"/>
                  </a:cubicBezTo>
                  <a:cubicBezTo>
                    <a:pt x="101" y="112"/>
                    <a:pt x="81" y="127"/>
                    <a:pt x="50" y="127"/>
                  </a:cubicBezTo>
                  <a:cubicBezTo>
                    <a:pt x="31" y="127"/>
                    <a:pt x="15" y="122"/>
                    <a:pt x="3" y="114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1" name="Google Shape;3951;p198"/>
            <p:cNvSpPr/>
            <p:nvPr/>
          </p:nvSpPr>
          <p:spPr>
            <a:xfrm>
              <a:off x="3702" y="2088"/>
              <a:ext cx="196" cy="239"/>
            </a:xfrm>
            <a:custGeom>
              <a:avLst/>
              <a:gdLst/>
              <a:ahLst/>
              <a:cxnLst/>
              <a:rect l="l" t="t" r="r" b="b"/>
              <a:pathLst>
                <a:path w="103" h="123" extrusionOk="0">
                  <a:moveTo>
                    <a:pt x="99" y="0"/>
                  </a:move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6" y="2"/>
                    <a:pt x="75" y="4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30" y="67"/>
                    <a:pt x="20" y="61"/>
                    <a:pt x="9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2"/>
                    <a:pt x="29" y="123"/>
                    <a:pt x="32" y="123"/>
                  </a:cubicBezTo>
                  <a:cubicBezTo>
                    <a:pt x="45" y="123"/>
                    <a:pt x="45" y="123"/>
                    <a:pt x="45" y="123"/>
                  </a:cubicBezTo>
                  <a:cubicBezTo>
                    <a:pt x="48" y="123"/>
                    <a:pt x="50" y="122"/>
                    <a:pt x="51" y="120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3"/>
                    <a:pt x="102" y="0"/>
                    <a:pt x="99" y="0"/>
                  </a:cubicBezTo>
                </a:path>
              </a:pathLst>
            </a:custGeom>
            <a:solidFill>
              <a:srgbClr val="3F3F3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3952" name="Google Shape;3952;p198"/>
          <p:cNvCxnSpPr/>
          <p:nvPr/>
        </p:nvCxnSpPr>
        <p:spPr>
          <a:xfrm>
            <a:off x="8871523" y="4842025"/>
            <a:ext cx="275625" cy="1125"/>
          </a:xfrm>
          <a:prstGeom prst="straightConnector1">
            <a:avLst/>
          </a:prstGeom>
          <a:noFill/>
          <a:ln w="19050" cap="flat" cmpd="sng">
            <a:solidFill>
              <a:srgbClr val="4DD67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3" name="Google Shape;3953;p198"/>
          <p:cNvSpPr txBox="1"/>
          <p:nvPr/>
        </p:nvSpPr>
        <p:spPr>
          <a:xfrm>
            <a:off x="8806061" y="4917986"/>
            <a:ext cx="348975" cy="18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694" rIns="91425" bIns="45694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51"/>
              <a:buFont typeface="Calibri"/>
              <a:buNone/>
            </a:pPr>
            <a:fld id="{00000000-1234-1234-1234-123412341234}" type="slidenum">
              <a:rPr lang="en-US" sz="788" b="1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51"/>
                <a:buFont typeface="Calibri"/>
                <a:buNone/>
              </a:pPr>
              <a:t>‹#›</a:t>
            </a:fld>
            <a:endParaRPr sz="900" b="1" i="0" u="none" strike="noStrike" cap="none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954" name="Google Shape;3954;p198"/>
          <p:cNvGrpSpPr/>
          <p:nvPr/>
        </p:nvGrpSpPr>
        <p:grpSpPr>
          <a:xfrm>
            <a:off x="-2185" y="-32"/>
            <a:ext cx="9156606" cy="40140"/>
            <a:chOff x="741309" y="1283369"/>
            <a:chExt cx="1636745" cy="280800"/>
          </a:xfrm>
        </p:grpSpPr>
        <p:sp>
          <p:nvSpPr>
            <p:cNvPr id="3955" name="Google Shape;3955;p198"/>
            <p:cNvSpPr/>
            <p:nvPr/>
          </p:nvSpPr>
          <p:spPr>
            <a:xfrm>
              <a:off x="741309" y="1283369"/>
              <a:ext cx="446700" cy="280800"/>
            </a:xfrm>
            <a:prstGeom prst="roundRect">
              <a:avLst>
                <a:gd name="adj" fmla="val 0"/>
              </a:avLst>
            </a:prstGeom>
            <a:solidFill>
              <a:srgbClr val="00C43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6" name="Google Shape;3956;p198"/>
            <p:cNvSpPr/>
            <p:nvPr/>
          </p:nvSpPr>
          <p:spPr>
            <a:xfrm>
              <a:off x="1187954" y="1283369"/>
              <a:ext cx="1190100" cy="280800"/>
            </a:xfrm>
            <a:prstGeom prst="roundRect">
              <a:avLst>
                <a:gd name="adj" fmla="val 0"/>
              </a:avLst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Calibri"/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17827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4" name="Date_DateCustomA">
            <a:extLst>
              <a:ext uri="{FF2B5EF4-FFF2-40B4-BE49-F238E27FC236}">
                <a16:creationId xmlns:a16="http://schemas.microsoft.com/office/drawing/2014/main" id="{BEF94B88-A631-4AD5-7EEA-B583B1FE28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667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3" name="Date_DateCustomA">
            <a:extLst>
              <a:ext uri="{FF2B5EF4-FFF2-40B4-BE49-F238E27FC236}">
                <a16:creationId xmlns:a16="http://schemas.microsoft.com/office/drawing/2014/main" id="{33A49EC0-8197-6FD8-9878-2907B3F439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34469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DA57A3-D2D9-4331-BE61-0E0816C321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5" name="Date_DateCustomA">
            <a:extLst>
              <a:ext uri="{FF2B5EF4-FFF2-40B4-BE49-F238E27FC236}">
                <a16:creationId xmlns:a16="http://schemas.microsoft.com/office/drawing/2014/main" id="{3942DECC-B7D0-1760-76ED-540F65D3FE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37950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5" name="Date_DateCustomA">
            <a:extLst>
              <a:ext uri="{FF2B5EF4-FFF2-40B4-BE49-F238E27FC236}">
                <a16:creationId xmlns:a16="http://schemas.microsoft.com/office/drawing/2014/main" id="{21ECE0DA-A15A-05F1-9E6E-CED26607CD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83604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5" name="Date_DateCustomA">
            <a:extLst>
              <a:ext uri="{FF2B5EF4-FFF2-40B4-BE49-F238E27FC236}">
                <a16:creationId xmlns:a16="http://schemas.microsoft.com/office/drawing/2014/main" id="{530D61AB-EA76-023E-BE64-26A3A447E8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478051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8DDDA3-D8C6-4A8F-A51C-052C4C240D3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5" name="Date_DateCustomA">
            <a:extLst>
              <a:ext uri="{FF2B5EF4-FFF2-40B4-BE49-F238E27FC236}">
                <a16:creationId xmlns:a16="http://schemas.microsoft.com/office/drawing/2014/main" id="{601672D2-7458-6300-ABBC-69AB495963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73705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rtlCol="0"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rtl="0"/>
            <a:r>
              <a:rPr lang="pl-pl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1703387" cy="216444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rtlCol="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C6A23E-9C46-4FE5-A1CB-6DD493EFC0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1142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 rtlCol="0"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 rtl="0"/>
            <a:r>
              <a:rPr lang="pl-pl"/>
              <a:t>Click to add text</a:t>
            </a:r>
          </a:p>
          <a:p>
            <a:pPr lvl="1" rtl="0"/>
            <a:r>
              <a:rPr lang="pl-pl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 rtlCol="0"/>
          <a:lstStyle>
            <a:lvl1pPr>
              <a:defRPr baseline="0"/>
            </a:lvl1pPr>
          </a:lstStyle>
          <a:p>
            <a:pPr rtl="0"/>
            <a:r>
              <a:rPr lang="pl-pl"/>
              <a:t>[Click to add agenda title]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2" name="Date_DateCustomA">
            <a:extLst>
              <a:ext uri="{FF2B5EF4-FFF2-40B4-BE49-F238E27FC236}">
                <a16:creationId xmlns:a16="http://schemas.microsoft.com/office/drawing/2014/main" id="{07E0B092-2A3E-64AC-E1CC-CDD413FBE7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25634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-pl"/>
              <a:t>Click to add text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241CBDED-8555-B344-2DF8-ECF3ADCE87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048344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 rtlCol="0"/>
          <a:lstStyle>
            <a:lvl1pPr>
              <a:defRPr baseline="0"/>
            </a:lvl1pPr>
          </a:lstStyle>
          <a:p>
            <a:pPr lvl="0" rtl="0"/>
            <a:r>
              <a:rPr lang="pl-pl"/>
              <a:t>Click to add text or select the placeholder and insert image via Templafy Image Library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 rtlCol="0"/>
          <a:lstStyle/>
          <a:p>
            <a:pPr lvl="0" rtl="0"/>
            <a:r>
              <a:rPr lang="pl-pl"/>
              <a:t>Click to add text or select the placeholder and insert image via Templafy Image Library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DAC5329B-C45B-087F-B746-97A69DC19A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6262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-pl"/>
              <a:t>Click to add text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 rtlCol="0"/>
          <a:lstStyle/>
          <a:p>
            <a:pPr lvl="0" rtl="0"/>
            <a:r>
              <a:rPr lang="pl-pl"/>
              <a:t>Select the placeholder and insert image via Templafy Image Library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857BB0ED-7814-7542-4C49-CE7222DF58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6154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466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706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28DF4E-322C-7642-B3B7-F47EF80036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411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A09AD8-2174-4FE8-95D6-FE5B48331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38229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3553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89EE9E-3F9F-4AE4-BF46-3E66A2F29E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51354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A58C18-6F9C-41B3-9CFB-F7B0A04A51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75962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pl-pl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 rtlCol="0"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 rtlCol="0">
            <a:spAutoFit/>
          </a:bodyPr>
          <a:lstStyle>
            <a:lvl1pPr>
              <a:defRPr sz="100">
                <a:noFill/>
              </a:defRPr>
            </a:lvl1pPr>
          </a:lstStyle>
          <a:p>
            <a:pPr rtl="0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0F28562-66D8-4861-8FB3-E4E0D14A5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28474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>
            <a:noAutofit/>
          </a:bodyPr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 rtlCol="0"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 rtl="0"/>
            <a:r>
              <a:rPr lang="pl-pl"/>
              <a:t>Click to add text</a:t>
            </a:r>
          </a:p>
          <a:p>
            <a:pPr lvl="1" rtl="0"/>
            <a:r>
              <a:rPr lang="pl-pl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rtlCol="0"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 rtl="0"/>
            <a:r>
              <a:rPr lang="pl-pl"/>
              <a:t>Click to add reference/notes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F7D44626-8B69-B32F-B1EF-093B4CE5A9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76830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 rtlCol="0"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 rtl="0"/>
            <a:r>
              <a:rPr lang="pl-pl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rtlCol="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rtlCol="0"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 rtl="0"/>
            <a:r>
              <a:rPr lang="pl-pl"/>
              <a:t>Click to add reference/notes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926BDD0F-B2C1-5785-6FF9-1E04CF672E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033019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 rtlCol="0"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 rtl="0"/>
            <a:r>
              <a:rPr lang="pl-pl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rtlCol="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rtlCol="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pPr rtl="0"/>
            <a:r>
              <a:rPr lang="pl-pl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 rtlCol="0"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 rtl="0"/>
            <a:r>
              <a:rPr lang="pl-pl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rtlCol="0"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 rtl="0"/>
            <a:r>
              <a:rPr lang="pl-pl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AEACCD84-20FB-1901-91C3-B373FDFC58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702604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>
                <a:noFill/>
              </a:defRPr>
            </a:lvl1pPr>
          </a:lstStyle>
          <a:p>
            <a:pPr lvl="0" rtl="0"/>
            <a:r>
              <a:rPr lang="pl-pl" dirty="0"/>
              <a:t>.</a:t>
            </a:r>
          </a:p>
        </p:txBody>
      </p:sp>
      <p:sp>
        <p:nvSpPr>
          <p:cNvPr id="16" name="Freeform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rtlCol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pPr rtl="0"/>
            <a:r>
              <a:rPr lang="pl-pl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 rtlCol="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-pl"/>
              <a:t>Click to add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6BA9C9FD-F7EA-E2CD-6FE8-7998AC76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20710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pl-pl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38088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pl-pl" sz="24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rtl="0" eaLnBrk="1" hangingPunct="1">
              <a:spcAft>
                <a:spcPts val="900"/>
              </a:spcAft>
              <a:defRPr/>
            </a:pP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rtl="0"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strike="no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pl-pl" sz="675" strike="noStrike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rtl="0"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</a:p>
          <a:p>
            <a:pPr rtl="0"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rtl="0"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pl-pl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450"/>
              </a:spcAft>
              <a:defRPr/>
            </a:pPr>
            <a:r>
              <a:rPr lang="pl-pl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2847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_DateCustomA">
            <a:extLst>
              <a:ext uri="{FF2B5EF4-FFF2-40B4-BE49-F238E27FC236}">
                <a16:creationId xmlns:a16="http://schemas.microsoft.com/office/drawing/2014/main" id="{DA2CD032-07C2-C100-943B-3DCE737948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9363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e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13233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5188" y="4835793"/>
            <a:ext cx="94039" cy="92333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8B9BC9D9-ACAB-4588-FC92-4DF3C691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rtlCol="0"/>
          <a:lstStyle/>
          <a:p>
            <a:pPr rt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6167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-2347414" y="-58060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-290999" y="3305176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18462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  <a:endParaRPr lang="en-GB"/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/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6435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280EF5A-3BC4-4678-8608-A73DCF7838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14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B4E15B-DA2A-420A-A25C-26DDB1754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197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3A54B3-082A-4362-B0E3-40670DC1F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6869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EC3306B-AF23-40F4-A024-098DCA812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5076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85EBDA-CBC8-4C56-9A58-FE6C31E7D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5772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3C7CE31-4476-8943-9D3F-5DF2FF6D29E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4CBA01-9D68-4705-8125-2D73F311D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4886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4D2EF6D-FD94-497D-A90C-64520022FF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1805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5769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7174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</p:spTree>
    <p:extLst>
      <p:ext uri="{BB962C8B-B14F-4D97-AF65-F5344CB8AC3E}">
        <p14:creationId xmlns:p14="http://schemas.microsoft.com/office/powerpoint/2010/main" val="3452904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/>
              <a:t>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270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875D8A4-24E5-4843-B39E-B68C237771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9603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141D9C-CE43-426D-8A4F-45ABC62AFD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5123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A21613-B359-4066-AD7A-91683A7BC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1164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85CB315-5AC5-4088-A92F-DFD8ADF46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471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75B484-693E-A948-A7E7-861D3F0EF1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6761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26214D-8553-4980-A541-E007CDA37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7539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D3B11D-6BDD-4C50-BA68-701D76C299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938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GB"/>
              <a:t>22 March 202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992D06-B690-44A7-9D14-5F76C97CF5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16" t="22631" r="9522" b="22223"/>
          <a:stretch/>
        </p:blipFill>
        <p:spPr>
          <a:xfrm>
            <a:off x="6176706" y="509377"/>
            <a:ext cx="2286000" cy="65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8344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7702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8715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84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227590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22 March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4257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  <a:endParaRPr lang="en-GB"/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/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/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351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1EC27-E1CB-D5CD-C091-D7D94098F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6D0627-0EAC-F186-A391-FCC0D4FAD6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AF529-94C3-F4C9-E8F0-0D4074EAB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K"/>
              <a:t>14 June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14F0B9-301E-EDC3-D205-8B5C5BE50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82FD9D-49C7-4A4E-90BD-1AD1F327C5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78418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94AC53E-7E6E-9D49-829B-4A8DF507F3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3987E0-1A4D-2A64-44A6-F7F378BFA9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08B4FE-797D-17CE-C0C2-DC83B9C526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B008E3-C4F1-94E1-0970-5601F3506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K"/>
              <a:t>14 June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065AA4-4AB7-754B-BA5D-D01AABCE26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DB22E9-F17F-48D7-589D-D4524FF019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1599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487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675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DA57A3-D2D9-4331-BE61-0E0816C321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5906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5427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414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8DDDA3-D8C6-4A8F-A51C-052C4C240D3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0545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resenter informatio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C6A23E-9C46-4FE5-A1CB-6DD493EFC0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1227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9089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7709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CA20A69-3797-2348-8CD5-CCEE54E1C8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</p:spPr>
        <p:txBody>
          <a:bodyPr/>
          <a:lstStyle/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949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</p:spPr>
        <p:txBody>
          <a:bodyPr/>
          <a:lstStyle/>
          <a:p>
            <a:pPr lvl="0"/>
            <a:r>
              <a:rPr lang="en-GB"/>
              <a:t>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455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389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8216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A09AD8-2174-4FE8-95D6-FE5B48331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5960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3668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89EE9E-3F9F-4AE4-BF46-3E66A2F29E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9365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A58C18-6F9C-41B3-9CFB-F7B0A04A51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2434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0F28562-66D8-4861-8FB3-E4E0D14A5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2824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16321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Morten Fløe Knudsen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395324-35B7-8B46-8D94-B45134B3D7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797" y="515697"/>
            <a:ext cx="2279817" cy="6377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3398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4289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911547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17488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863599" y="404813"/>
            <a:ext cx="7873205" cy="48762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35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871877" y="1196975"/>
            <a:ext cx="1620599" cy="337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75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75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900"/>
              </a:spcAft>
              <a:defRPr/>
            </a:pPr>
            <a:r>
              <a:rPr lang="en-GB" altLang="da-DK" sz="675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en-GB" altLang="da-DK" sz="675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en-GB" altLang="da-DK" sz="675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675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sz="675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180"/>
              </a:spcAft>
              <a:defRPr/>
            </a:pPr>
            <a:endParaRPr lang="en-GB" sz="675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840933" y="1196975"/>
            <a:ext cx="1620599" cy="191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 with Templafy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placeholder and choose image from Templafy image library 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6410994" y="1183578"/>
            <a:ext cx="1620599" cy="2221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75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92475" y="1979481"/>
            <a:ext cx="411996" cy="213921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520" y="2475579"/>
            <a:ext cx="243573" cy="433678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4513" y="2977782"/>
            <a:ext cx="445026" cy="144158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6004" y="3810615"/>
            <a:ext cx="369339" cy="150312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1824" y="1882940"/>
            <a:ext cx="253050" cy="241280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5103" y="2253433"/>
            <a:ext cx="269771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1176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C5C65-0FBD-40F3-9C88-5A08874DB074}" type="datetime1">
              <a:rPr lang="en-GB" smtClean="0"/>
              <a:t>22/01/2024</a:t>
            </a:fld>
            <a:r>
              <a:rPr lang="en-GB"/>
              <a:t>11 September 2023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92716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e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72235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3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B0692D6B-3166-402B-A398-9B7F97141BA2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982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Title_green vertex.png">
            <a:extLst>
              <a:ext uri="{FF2B5EF4-FFF2-40B4-BE49-F238E27FC236}">
                <a16:creationId xmlns:a16="http://schemas.microsoft.com/office/drawing/2014/main" id="{416A3CB1-74A4-4361-8883-48308AB46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6364"/>
            <a:ext cx="9144000" cy="4517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9" name="Picture Placeholder 18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/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E22F32-A82D-4775-BFA2-9D80E90A633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  <p:sp>
        <p:nvSpPr>
          <p:cNvPr id="13" name="CUS_NameAndTitle">
            <a:extLst>
              <a:ext uri="{FF2B5EF4-FFF2-40B4-BE49-F238E27FC236}">
                <a16:creationId xmlns:a16="http://schemas.microsoft.com/office/drawing/2014/main" id="{95BF8ABA-9D5C-4B5B-A1C0-84126F7D5D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BA6DD9E1-2FDD-4F02-B74B-A6F979B201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3F1ADF76-7703-458F-BA2B-6B1CBF4CF35E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</p:spTree>
    <p:extLst>
      <p:ext uri="{BB962C8B-B14F-4D97-AF65-F5344CB8AC3E}">
        <p14:creationId xmlns:p14="http://schemas.microsoft.com/office/powerpoint/2010/main" val="3243347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1101C5E-E530-479D-8C38-FE48935DB858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0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3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DA57A3-D2D9-4331-BE61-0E0816C321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105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30000"/>
            <a:ext cx="9143998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E4E632C2-7FA7-40CD-AB00-B07406A43E9D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713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1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415801E-2065-438C-A5A6-6927AB74F686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5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85BECF7-1FFB-43B3-BC9B-1B1CB110F0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848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accent5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8A2376FE-6899-43E9-822B-BCCE271EA71E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8DDDA3-D8C6-4A8F-A51C-052C4C240D3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788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0000"/>
            <a:ext cx="9144000" cy="45180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2014" y="1194357"/>
            <a:ext cx="4330700" cy="18861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tabLst/>
              <a:defRPr sz="3600" baseline="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US_NameAndTitle"/>
          <p:cNvSpPr>
            <a:spLocks noGrp="1"/>
          </p:cNvSpPr>
          <p:nvPr>
            <p:ph type="subTitle" idx="1" hasCustomPrompt="1"/>
          </p:nvPr>
        </p:nvSpPr>
        <p:spPr>
          <a:xfrm>
            <a:off x="862013" y="3951941"/>
            <a:ext cx="1703387" cy="564596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Pia Hoejfeld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862013" y="4503837"/>
            <a:ext cx="65" cy="153888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96CFD348-E405-4595-A482-202EF10FCA60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1" hasCustomPrompt="1"/>
          </p:nvPr>
        </p:nvSpPr>
        <p:spPr>
          <a:xfrm>
            <a:off x="2006492" y="1669102"/>
            <a:ext cx="7137509" cy="3474434"/>
          </a:xfrm>
          <a:custGeom>
            <a:avLst/>
            <a:gdLst>
              <a:gd name="connsiteX0" fmla="*/ 5013263 w 7137509"/>
              <a:gd name="connsiteY0" fmla="*/ 0 h 3474434"/>
              <a:gd name="connsiteX1" fmla="*/ 5034941 w 7137509"/>
              <a:gd name="connsiteY1" fmla="*/ 0 h 3474434"/>
              <a:gd name="connsiteX2" fmla="*/ 5268143 w 7137509"/>
              <a:gd name="connsiteY2" fmla="*/ 60551 h 3474434"/>
              <a:gd name="connsiteX3" fmla="*/ 7137509 w 7137509"/>
              <a:gd name="connsiteY3" fmla="*/ 636014 h 3474434"/>
              <a:gd name="connsiteX4" fmla="*/ 7137509 w 7137509"/>
              <a:gd name="connsiteY4" fmla="*/ 3474434 h 3474434"/>
              <a:gd name="connsiteX5" fmla="*/ 0 w 7137509"/>
              <a:gd name="connsiteY5" fmla="*/ 3474434 h 3474434"/>
              <a:gd name="connsiteX6" fmla="*/ 294141 w 7137509"/>
              <a:gd name="connsiteY6" fmla="*/ 3143289 h 3474434"/>
              <a:gd name="connsiteX7" fmla="*/ 2669976 w 7137509"/>
              <a:gd name="connsiteY7" fmla="*/ 1150546 h 3474434"/>
              <a:gd name="connsiteX8" fmla="*/ 4712674 w 7137509"/>
              <a:gd name="connsiteY8" fmla="*/ 112754 h 347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37509" h="3474434">
                <a:moveTo>
                  <a:pt x="5013263" y="0"/>
                </a:moveTo>
                <a:lnTo>
                  <a:pt x="5034941" y="0"/>
                </a:lnTo>
                <a:lnTo>
                  <a:pt x="5268143" y="60551"/>
                </a:lnTo>
                <a:cubicBezTo>
                  <a:pt x="6462053" y="376060"/>
                  <a:pt x="7137509" y="636014"/>
                  <a:pt x="7137509" y="636014"/>
                </a:cubicBezTo>
                <a:lnTo>
                  <a:pt x="7137509" y="3474434"/>
                </a:lnTo>
                <a:lnTo>
                  <a:pt x="0" y="3474434"/>
                </a:lnTo>
                <a:lnTo>
                  <a:pt x="294141" y="3143289"/>
                </a:lnTo>
                <a:cubicBezTo>
                  <a:pt x="994529" y="2382493"/>
                  <a:pt x="1792146" y="1706887"/>
                  <a:pt x="2669976" y="1150546"/>
                </a:cubicBezTo>
                <a:cubicBezTo>
                  <a:pt x="3311680" y="741636"/>
                  <a:pt x="3994707" y="393576"/>
                  <a:pt x="4712674" y="112754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0" rIns="72000" bIns="72000" anchor="b" anchorCtr="0">
            <a:no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Select the placeholder and insert image via Templafy Image Library or use this image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0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C6A23E-9C46-4FE5-A1CB-6DD493EFC0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6002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200151"/>
            <a:ext cx="6334125" cy="3204000"/>
          </a:xfrm>
          <a:prstGeom prst="rect">
            <a:avLst/>
          </a:prstGeom>
        </p:spPr>
        <p:txBody>
          <a:bodyPr/>
          <a:lstStyle>
            <a:lvl1pPr marL="216000" indent="-216000">
              <a:buClrTx/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1pPr>
            <a:lvl2pPr marL="432000" indent="-216000">
              <a:defRPr sz="1200">
                <a:solidFill>
                  <a:srgbClr val="595959"/>
                </a:solidFill>
              </a:defRPr>
            </a:lvl2pPr>
            <a:lvl3pPr marL="216000" indent="0">
              <a:buNone/>
              <a:defRPr sz="1200"/>
            </a:lvl3pPr>
            <a:lvl4pPr marL="432000">
              <a:defRPr sz="1200"/>
            </a:lvl4pPr>
            <a:lvl5pPr marL="432000">
              <a:defRPr sz="1200"/>
            </a:lvl5pPr>
            <a:lvl6pPr marL="432000">
              <a:defRPr/>
            </a:lvl6pPr>
            <a:lvl7pPr marL="432000">
              <a:defRPr/>
            </a:lvl7pPr>
            <a:lvl8pPr marL="432000">
              <a:defRPr/>
            </a:lvl8pPr>
            <a:lvl9pPr marL="432000">
              <a:defRPr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6334125" cy="763494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agenda title]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1D84FB91-37D9-4E1B-9356-84E181C9E928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4699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BC82EAF6-D8B5-4AFB-9A6C-EF30E1BAD7EF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07480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4"/>
            <a:ext cx="3529013" cy="321151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751388" y="1196975"/>
            <a:ext cx="3529012" cy="32115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add text or 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0086DC99-C7E2-4A13-99F0-E6B37A757402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</p:spTree>
    <p:extLst>
      <p:ext uri="{BB962C8B-B14F-4D97-AF65-F5344CB8AC3E}">
        <p14:creationId xmlns:p14="http://schemas.microsoft.com/office/powerpoint/2010/main" val="117531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67">
          <p15:clr>
            <a:srgbClr val="F26B43"/>
          </p15:clr>
        </p15:guide>
        <p15:guide id="2" pos="2993">
          <p15:clr>
            <a:srgbClr val="F26B43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wide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09D44918-6F8C-4BCE-B586-EB0FD23BA6C8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3600" y="1196975"/>
            <a:ext cx="4679950" cy="32115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903913" y="1196974"/>
            <a:ext cx="2376487" cy="32115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Select the placeholder and insert image via Templafy Image Library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869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2">
          <p15:clr>
            <a:srgbClr val="F26B43"/>
          </p15:clr>
        </p15:guide>
        <p15:guide id="2" pos="3719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lu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300"/>
            <a:ext cx="9144000" cy="43942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ACBBB57D-DD71-4441-A290-8B1CF36B4D6B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1298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gree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F3E53F5C-C4EF-42E5-91D4-CC47CFB1B53C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187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865188" y="1196974"/>
            <a:ext cx="7415212" cy="32115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53210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purpl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purpl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1753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F1662F0F-A1B3-438A-8F3C-B79DB4A0DC4E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A09AD8-2174-4FE8-95D6-FE5B48331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5149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brown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1048"/>
            <a:ext cx="9144000" cy="43907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3CF64AEC-C29C-4D66-9014-3DEB35B6166C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5740F7-FBE3-4B0B-BF6B-158BC831D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9026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red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red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F41433EB-C7A2-4B7E-9623-CC921B3F9694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89EE9E-3F9F-4AE4-BF46-3E66A2F29E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3610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orange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vider_orange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8"/>
            <a:ext cx="6338887" cy="25265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5967F3B1-9870-4D15-A016-FD1DE5FA2DC1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5A58C18-6F9C-41B3-9CFB-F7B0A04A51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516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End: yellow vert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vider_yellow vertex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9808"/>
            <a:ext cx="9144000" cy="439369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069442" y="2695397"/>
            <a:ext cx="2279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/>
              <a:t> 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862013" y="1881977"/>
            <a:ext cx="6338887" cy="25265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85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11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bg1"/>
              </a:solidFill>
            </a:endParaRPr>
          </a:p>
        </p:txBody>
      </p:sp>
      <p:sp>
        <p:nvSpPr>
          <p:cNvPr id="12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5181528"/>
            <a:ext cx="0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noFill/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0" y="5220000"/>
            <a:ext cx="0" cy="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">
                <a:noFill/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1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5212306"/>
            <a:ext cx="65" cy="1538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100">
                <a:noFill/>
              </a:defRPr>
            </a:lvl1pPr>
          </a:lstStyle>
          <a:p>
            <a:fld id="{9B778733-20B2-4CF1-8874-70C1450F77D4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0F28562-66D8-4861-8FB3-E4E0D14A5A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706" y="515697"/>
            <a:ext cx="2286000" cy="63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6936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3600" y="1185437"/>
            <a:ext cx="6334125" cy="32230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i="1">
                <a:solidFill>
                  <a:srgbClr val="595959"/>
                </a:solidFill>
              </a:defRPr>
            </a:lvl1pPr>
            <a:lvl2pPr marL="0" indent="0">
              <a:buFontTx/>
              <a:buNone/>
              <a:defRPr sz="1200">
                <a:solidFill>
                  <a:srgbClr val="0033A0"/>
                </a:solidFill>
              </a:defRPr>
            </a:lvl2pPr>
            <a:lvl3pPr marL="0">
              <a:spcBef>
                <a:spcPts val="1200"/>
              </a:spcBef>
              <a:defRPr/>
            </a:lvl3pPr>
            <a:lvl4pPr marL="216000">
              <a:defRPr/>
            </a:lvl4pPr>
            <a:lvl5pPr marL="0" indent="-144000">
              <a:spcBef>
                <a:spcPts val="1200"/>
              </a:spcBef>
              <a:defRPr baseline="0"/>
            </a:lvl5pPr>
            <a:lvl6pPr marL="144000">
              <a:defRPr/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600950" y="3319267"/>
            <a:ext cx="1260000" cy="1029084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4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06BF18C9-8E0D-471B-AC78-C133B653B609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5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445691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6334125" cy="32737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3600" y="1656000"/>
            <a:ext cx="6335713" cy="2752488"/>
          </a:xfrm>
          <a:prstGeom prst="rect">
            <a:avLst/>
          </a:prstGeo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600950" y="3319267"/>
            <a:ext cx="1260000" cy="1029084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5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3116EFD4-5B05-4C65-87CA-7D6730F027F7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3144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: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5188" y="1196976"/>
            <a:ext cx="3057525" cy="32737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 hasCustomPrompt="1"/>
          </p:nvPr>
        </p:nvSpPr>
        <p:spPr>
          <a:xfrm>
            <a:off x="865188" y="1656000"/>
            <a:ext cx="3056400" cy="2752488"/>
          </a:xfrm>
          <a:prstGeom prst="rect">
            <a:avLst/>
          </a:prstGeo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9" name="Chart Placeholder 10"/>
          <p:cNvSpPr>
            <a:spLocks noGrp="1"/>
          </p:cNvSpPr>
          <p:nvPr>
            <p:ph type="chart" sz="quarter" idx="14" hasCustomPrompt="1"/>
          </p:nvPr>
        </p:nvSpPr>
        <p:spPr>
          <a:xfrm>
            <a:off x="4136400" y="1656000"/>
            <a:ext cx="3056400" cy="2752488"/>
          </a:xfrm>
          <a:prstGeom prst="rect">
            <a:avLst/>
          </a:prstGeom>
        </p:spPr>
        <p:txBody>
          <a:bodyPr tIns="540000" anchor="ctr" anchorCtr="0"/>
          <a:lstStyle>
            <a:lvl1pPr marL="0" indent="0" algn="ctr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137025" y="1196976"/>
            <a:ext cx="3057525" cy="32737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200">
                <a:solidFill>
                  <a:srgbClr val="595959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 marL="0">
              <a:spcBef>
                <a:spcPts val="1200"/>
              </a:spcBef>
              <a:defRPr sz="1200">
                <a:solidFill>
                  <a:schemeClr val="tx1"/>
                </a:solidFill>
              </a:defRPr>
            </a:lvl3pPr>
            <a:lvl4pPr marL="216000"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1200"/>
              </a:spcBef>
              <a:defRPr sz="1200" baseline="0">
                <a:solidFill>
                  <a:schemeClr val="tx1"/>
                </a:solidFill>
              </a:defRPr>
            </a:lvl5pPr>
            <a:lvl6pPr marL="144000">
              <a:defRPr sz="1200">
                <a:solidFill>
                  <a:schemeClr val="tx1"/>
                </a:solidFill>
              </a:defRPr>
            </a:lvl6pPr>
          </a:lstStyle>
          <a:p>
            <a:pPr lvl="0"/>
            <a:r>
              <a:rPr lang="en-GB"/>
              <a:t>Click to add chart tit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600949" y="3319266"/>
            <a:ext cx="1260000" cy="1029600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 baseline="0"/>
            </a:lvl1pPr>
          </a:lstStyle>
          <a:p>
            <a:pPr lvl="0"/>
            <a:r>
              <a:rPr lang="en-GB"/>
              <a:t>Click to add reference/not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97" y="4521600"/>
            <a:ext cx="9144793" cy="640135"/>
          </a:xfrm>
          <a:prstGeom prst="rect">
            <a:avLst/>
          </a:prstGeom>
        </p:spPr>
      </p:pic>
      <p:sp>
        <p:nvSpPr>
          <p:cNvPr id="7" name="Date_DateCustomA"/>
          <p:cNvSpPr>
            <a:spLocks noGrp="1"/>
          </p:cNvSpPr>
          <p:nvPr>
            <p:ph type="dt" sz="half" idx="17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220BDA2B-9C36-459F-A25B-FD2308D623FA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8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9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5241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-3599"/>
            <a:ext cx="9144000" cy="4970479"/>
          </a:xfrm>
          <a:custGeom>
            <a:avLst/>
            <a:gdLst>
              <a:gd name="connsiteX0" fmla="*/ 0 w 9144000"/>
              <a:gd name="connsiteY0" fmla="*/ 0 h 4970479"/>
              <a:gd name="connsiteX1" fmla="*/ 9144000 w 9144000"/>
              <a:gd name="connsiteY1" fmla="*/ 0 h 4970479"/>
              <a:gd name="connsiteX2" fmla="*/ 9144000 w 9144000"/>
              <a:gd name="connsiteY2" fmla="*/ 23546 h 4970479"/>
              <a:gd name="connsiteX3" fmla="*/ 9144000 w 9144000"/>
              <a:gd name="connsiteY3" fmla="*/ 4525974 h 4970479"/>
              <a:gd name="connsiteX4" fmla="*/ 7851775 w 9144000"/>
              <a:gd name="connsiteY4" fmla="*/ 4574290 h 4970479"/>
              <a:gd name="connsiteX5" fmla="*/ 6499225 w 9144000"/>
              <a:gd name="connsiteY5" fmla="*/ 4806206 h 4970479"/>
              <a:gd name="connsiteX6" fmla="*/ 5956300 w 9144000"/>
              <a:gd name="connsiteY6" fmla="*/ 4970479 h 4970479"/>
              <a:gd name="connsiteX7" fmla="*/ 4940300 w 9144000"/>
              <a:gd name="connsiteY7" fmla="*/ 4796542 h 4970479"/>
              <a:gd name="connsiteX8" fmla="*/ 0 w 9144000"/>
              <a:gd name="connsiteY8" fmla="*/ 4532416 h 4970479"/>
              <a:gd name="connsiteX9" fmla="*/ 0 w 9144000"/>
              <a:gd name="connsiteY9" fmla="*/ 368206 h 4970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970479">
                <a:moveTo>
                  <a:pt x="0" y="0"/>
                </a:moveTo>
                <a:lnTo>
                  <a:pt x="9144000" y="0"/>
                </a:lnTo>
                <a:lnTo>
                  <a:pt x="9144000" y="23546"/>
                </a:lnTo>
                <a:cubicBezTo>
                  <a:pt x="9144000" y="237947"/>
                  <a:pt x="9144000" y="1095553"/>
                  <a:pt x="9144000" y="4525974"/>
                </a:cubicBezTo>
                <a:cubicBezTo>
                  <a:pt x="8689975" y="4519532"/>
                  <a:pt x="8255000" y="4535637"/>
                  <a:pt x="7851775" y="4574290"/>
                </a:cubicBezTo>
                <a:cubicBezTo>
                  <a:pt x="7372350" y="4619385"/>
                  <a:pt x="6915150" y="4699911"/>
                  <a:pt x="6499225" y="4806206"/>
                </a:cubicBezTo>
                <a:cubicBezTo>
                  <a:pt x="6311900" y="4854521"/>
                  <a:pt x="6130925" y="4909279"/>
                  <a:pt x="5956300" y="4970479"/>
                </a:cubicBezTo>
                <a:cubicBezTo>
                  <a:pt x="5651500" y="4906058"/>
                  <a:pt x="5311775" y="4848079"/>
                  <a:pt x="4940300" y="4796542"/>
                </a:cubicBezTo>
                <a:cubicBezTo>
                  <a:pt x="3698875" y="4629048"/>
                  <a:pt x="2038350" y="4542079"/>
                  <a:pt x="0" y="4532416"/>
                </a:cubicBezTo>
                <a:cubicBezTo>
                  <a:pt x="0" y="4532416"/>
                  <a:pt x="0" y="4532416"/>
                  <a:pt x="0" y="368206"/>
                </a:cubicBezTo>
                <a:close/>
              </a:path>
            </a:pathLst>
          </a:custGeom>
          <a:solidFill>
            <a:schemeClr val="bg2">
              <a:alpha val="73000"/>
            </a:schemeClr>
          </a:solidFill>
        </p:spPr>
        <p:txBody>
          <a:bodyPr wrap="square" lIns="0" tIns="576000" rIns="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Click the placeholder and paste image via Images 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65188" y="1196974"/>
            <a:ext cx="2376000" cy="108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 marL="4320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15D3CEE0-EE33-494F-BCC5-E63E576A0FF8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521892"/>
            <a:ext cx="9144000" cy="64135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916344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/>
          <a:lstStyle/>
          <a:p>
            <a:fld id="{62B84FC2-9033-432B-83D0-8F760231FBE1}" type="datetime3">
              <a:rPr lang="en-GB" smtClean="0"/>
              <a:t>22 January, 2024</a:t>
            </a:fld>
            <a:r>
              <a:rPr lang="en-GB"/>
              <a:t>5 October 2022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1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/>
          <a:lstStyle/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332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Relationship Id="rId30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theme" Target="../theme/theme10.xml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31" Type="http://schemas.openxmlformats.org/officeDocument/2006/relationships/image" Target="../media/image37.emf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image" Target="../media/image36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Relationship Id="rId30" Type="http://schemas.openxmlformats.org/officeDocument/2006/relationships/image" Target="../media/image3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4.xml"/><Relationship Id="rId7" Type="http://schemas.openxmlformats.org/officeDocument/2006/relationships/image" Target="../media/image3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4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image" Target="../media/image37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image" Target="../media/image36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heme" Target="../theme/theme5.xml"/><Relationship Id="rId30" Type="http://schemas.openxmlformats.org/officeDocument/2006/relationships/image" Target="../media/image39.emf"/><Relationship Id="rId8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theme" Target="../theme/theme6.xml"/><Relationship Id="rId30" Type="http://schemas.openxmlformats.org/officeDocument/2006/relationships/image" Target="../media/image4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image" Target="../media/image34.jpeg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image" Target="../media/image37.emf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image" Target="../media/image36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75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theme" Target="../theme/theme9.xml"/><Relationship Id="rId38" Type="http://schemas.openxmlformats.org/officeDocument/2006/relationships/image" Target="../media/image3.jpeg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oleObject" Target="../embeddings/oleObject7.bin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Keyline vertex">
            <a:extLst>
              <a:ext uri="{FF2B5EF4-FFF2-40B4-BE49-F238E27FC236}">
                <a16:creationId xmlns:a16="http://schemas.microsoft.com/office/drawing/2014/main" id="{4A714540-0A0A-4FC7-9164-B94F80452448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207" y="4505336"/>
            <a:ext cx="9144000" cy="64135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C4C89E9-8146-4214-8E5E-55F1F5145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3523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C4C89E9-8146-4214-8E5E-55F1F5145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r>
              <a:rPr lang="en-GB"/>
              <a:t>16 August 2023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9A2532-7004-4A9D-92E5-5CAFAE38B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1" t="24085" r="9554" b="24231"/>
          <a:stretch/>
        </p:blipFill>
        <p:spPr>
          <a:xfrm>
            <a:off x="7388003" y="4714806"/>
            <a:ext cx="959103" cy="23944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20" r:id="rId2"/>
    <p:sldLayoutId id="2147483695" r:id="rId3"/>
    <p:sldLayoutId id="2147483721" r:id="rId4"/>
    <p:sldLayoutId id="2147483708" r:id="rId5"/>
    <p:sldLayoutId id="2147483685" r:id="rId6"/>
    <p:sldLayoutId id="2147483701" r:id="rId7"/>
    <p:sldLayoutId id="2147483662" r:id="rId8"/>
    <p:sldLayoutId id="2147483711" r:id="rId9"/>
    <p:sldLayoutId id="2147483712" r:id="rId10"/>
    <p:sldLayoutId id="2147483715" r:id="rId11"/>
    <p:sldLayoutId id="2147483718" r:id="rId12"/>
    <p:sldLayoutId id="2147483722" r:id="rId13"/>
    <p:sldLayoutId id="2147483661" r:id="rId14"/>
    <p:sldLayoutId id="2147483723" r:id="rId15"/>
    <p:sldLayoutId id="2147483671" r:id="rId16"/>
    <p:sldLayoutId id="2147483672" r:id="rId17"/>
    <p:sldLayoutId id="2147483673" r:id="rId18"/>
    <p:sldLayoutId id="2147483664" r:id="rId19"/>
    <p:sldLayoutId id="2147483666" r:id="rId20"/>
    <p:sldLayoutId id="2147483667" r:id="rId21"/>
    <p:sldLayoutId id="2147483717" r:id="rId22"/>
    <p:sldLayoutId id="2147483654" r:id="rId23"/>
    <p:sldLayoutId id="2147483719" r:id="rId24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 userDrawn="1">
          <p15:clr>
            <a:srgbClr val="F26B43"/>
          </p15:clr>
        </p15:guide>
        <p15:guide id="2" pos="541" userDrawn="1">
          <p15:clr>
            <a:srgbClr val="F26B43"/>
          </p15:clr>
        </p15:guide>
        <p15:guide id="3" orient="horz" pos="2777" userDrawn="1">
          <p15:clr>
            <a:srgbClr val="F26B43"/>
          </p15:clr>
        </p15:guide>
        <p15:guide id="4" pos="4536" userDrawn="1">
          <p15:clr>
            <a:srgbClr val="F26B43"/>
          </p15:clr>
        </p15:guide>
        <p15:guide id="5" pos="5216" userDrawn="1">
          <p15:clr>
            <a:srgbClr val="F26B43"/>
          </p15:clr>
        </p15:guide>
        <p15:guide id="6" orient="horz" pos="683" userDrawn="1">
          <p15:clr>
            <a:srgbClr val="F26B43"/>
          </p15:clr>
        </p15:guide>
        <p15:guide id="7" orient="horz" pos="2731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3" name="Helix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0666"/>
            <a:ext cx="959103" cy="236829"/>
          </a:xfrm>
          <a:prstGeom prst="rect">
            <a:avLst/>
          </a:prstGeom>
        </p:spPr>
      </p:pic>
      <p:pic>
        <p:nvPicPr>
          <p:cNvPr id="14" name="LogoMaster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1358"/>
            <a:ext cx="957504" cy="23653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rtl="0"/>
            <a:r>
              <a:rPr lang="pl-pl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pl-pl"/>
              <a:t>Edit Master text styles</a:t>
            </a:r>
          </a:p>
          <a:p>
            <a:pPr lvl="1" rtl="0"/>
            <a:r>
              <a:rPr lang="pl-pl"/>
              <a:t>Second level</a:t>
            </a:r>
          </a:p>
          <a:p>
            <a:pPr lvl="2" rtl="0"/>
            <a:r>
              <a:rPr lang="pl-pl"/>
              <a:t>Third level</a:t>
            </a:r>
          </a:p>
          <a:p>
            <a:pPr lvl="3" rtl="0"/>
            <a:r>
              <a:rPr lang="pl-pl"/>
              <a:t>Fourth level</a:t>
            </a:r>
          </a:p>
          <a:p>
            <a:pPr lvl="4" rtl="0"/>
            <a:r>
              <a:rPr lang="pl-pl"/>
              <a:t>Fifth level</a:t>
            </a:r>
          </a:p>
          <a:p>
            <a:pPr lvl="5" rtl="0"/>
            <a:r>
              <a:rPr lang="pl-pl"/>
              <a:t>6</a:t>
            </a:r>
          </a:p>
          <a:p>
            <a:pPr lvl="6" rtl="0"/>
            <a:r>
              <a:rPr lang="pl-pl"/>
              <a:t>7</a:t>
            </a:r>
          </a:p>
          <a:p>
            <a:pPr lvl="7" rtl="0"/>
            <a:r>
              <a:rPr lang="pl-pl"/>
              <a:t>8</a:t>
            </a:r>
          </a:p>
          <a:p>
            <a:pPr lvl="8" rtl="0"/>
            <a:r>
              <a:rPr lang="pl-pl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1196603" y="4835793"/>
            <a:ext cx="1065498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pPr rtl="0"/>
            <a:fld id="{3A483F72-6696-D64B-9F37-DCAA5586588F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pPr rtl="0"/>
            <a:endParaRPr lang="en-GB" dirty="0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rtl="0"/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03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  <p:sldLayoutId id="2147483916" r:id="rId19"/>
    <p:sldLayoutId id="2147483917" r:id="rId20"/>
    <p:sldLayoutId id="2147483918" r:id="rId21"/>
    <p:sldLayoutId id="2147483919" r:id="rId22"/>
    <p:sldLayoutId id="2147483920" r:id="rId23"/>
    <p:sldLayoutId id="2147483921" r:id="rId24"/>
    <p:sldLayoutId id="2147483922" r:id="rId25"/>
    <p:sldLayoutId id="2147483923" r:id="rId26"/>
    <p:sldLayoutId id="2147483924" r:id="rId27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787D399B-1D1E-218E-21FE-0B94D096C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401603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7D399B-1D1E-218E-21FE-0B94D096C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F51148-5B15-4DDF-8BAB-9C3017B0F5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0"/>
          <a:srcRect l="9441" t="24085" r="9554" b="24231"/>
          <a:stretch/>
        </p:blipFill>
        <p:spPr>
          <a:xfrm>
            <a:off x="7330853" y="4734853"/>
            <a:ext cx="959103" cy="23944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r>
              <a:rPr lang="en-GB"/>
              <a:t>22 March 2023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43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F80FB0E-795B-419B-8E39-CFC39293CB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F80FB0E-795B-419B-8E39-CFC39293C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3" name="Helix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0666"/>
            <a:ext cx="959103" cy="236829"/>
          </a:xfrm>
          <a:prstGeom prst="rect">
            <a:avLst/>
          </a:prstGeom>
        </p:spPr>
      </p:pic>
      <p:pic>
        <p:nvPicPr>
          <p:cNvPr id="14" name="LogoMaster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1358"/>
            <a:ext cx="957504" cy="23653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r>
              <a:rPr lang="en-DK"/>
              <a:t>14 June 2023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513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C76CB66-15A6-4DAC-9E90-6E5DD77D4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C76CB66-15A6-4DAC-9E90-6E5DD77D4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F51148-5B15-4DDF-8BAB-9C3017B0F5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9441" t="24085" r="9554" b="24231"/>
          <a:stretch/>
        </p:blipFill>
        <p:spPr>
          <a:xfrm>
            <a:off x="7330853" y="4734853"/>
            <a:ext cx="959103" cy="23944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r>
              <a:rPr lang="en-DK"/>
              <a:t>14 June 2023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8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F194A7B-9EDD-466B-1AD8-378C7D59C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65931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53" imgH="353" progId="TCLayout.ActiveDocument.1">
                  <p:embed/>
                </p:oleObj>
              </mc:Choice>
              <mc:Fallback>
                <p:oleObj name="think-cell Slide" r:id="rId29" imgW="353" imgH="35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194A7B-9EDD-466B-1AD8-378C7D59C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3" name="Helix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0666"/>
            <a:ext cx="959103" cy="236829"/>
          </a:xfrm>
          <a:prstGeom prst="rect">
            <a:avLst/>
          </a:prstGeom>
        </p:spPr>
      </p:pic>
      <p:pic>
        <p:nvPicPr>
          <p:cNvPr id="14" name="LogoMaster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1358"/>
            <a:ext cx="957504" cy="23653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957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6699D57-43F7-4758-B109-93552D5A89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293712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06" imgH="306" progId="TCLayout.ActiveDocument.1">
                  <p:embed/>
                </p:oleObj>
              </mc:Choice>
              <mc:Fallback>
                <p:oleObj name="think-cell Slide" r:id="rId29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6699D57-43F7-4758-B109-93552D5A89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5320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  <p:sldLayoutId id="2147483805" r:id="rId23"/>
    <p:sldLayoutId id="2147483806" r:id="rId24"/>
    <p:sldLayoutId id="2147483807" r:id="rId25"/>
    <p:sldLayoutId id="2147483808" r:id="rId26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6F51148-5B15-4DDF-8BAB-9C3017B0F5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/>
          <a:srcRect l="9441" t="24085" r="9554" b="24231"/>
          <a:stretch/>
        </p:blipFill>
        <p:spPr>
          <a:xfrm>
            <a:off x="7330853" y="4734853"/>
            <a:ext cx="959103" cy="23944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212679" y="169207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6</a:t>
            </a:r>
            <a:endParaRPr lang="en-GB"/>
          </a:p>
          <a:p>
            <a:pPr lvl="6"/>
            <a:r>
              <a:rPr lang="en-GB" dirty="0"/>
              <a:t>7</a:t>
            </a:r>
            <a:endParaRPr lang="en-GB"/>
          </a:p>
          <a:p>
            <a:pPr lvl="7"/>
            <a:r>
              <a:rPr lang="en-GB" dirty="0"/>
              <a:t>8</a:t>
            </a:r>
            <a:endParaRPr lang="en-GB"/>
          </a:p>
          <a:p>
            <a:pPr lvl="8"/>
            <a:r>
              <a:rPr lang="en-GB" dirty="0"/>
              <a:t>9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665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96" r:id="rId25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18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eyline vertex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21891"/>
            <a:ext cx="9144000" cy="641350"/>
          </a:xfrm>
          <a:prstGeom prst="rect">
            <a:avLst/>
          </a:prstGeom>
        </p:spPr>
      </p:pic>
      <p:pic>
        <p:nvPicPr>
          <p:cNvPr id="13" name="Helix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0666"/>
            <a:ext cx="959103" cy="236829"/>
          </a:xfrm>
          <a:prstGeom prst="rect">
            <a:avLst/>
          </a:prstGeom>
        </p:spPr>
      </p:pic>
      <p:pic>
        <p:nvPicPr>
          <p:cNvPr id="14" name="LogoMaster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0853" y="4741358"/>
            <a:ext cx="957504" cy="23653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540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Keyline vertex">
            <a:extLst>
              <a:ext uri="{FF2B5EF4-FFF2-40B4-BE49-F238E27FC236}">
                <a16:creationId xmlns:a16="http://schemas.microsoft.com/office/drawing/2014/main" id="{4A714540-0A0A-4FC7-9164-B94F80452448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207" y="4505336"/>
            <a:ext cx="9144000" cy="64135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C4C89E9-8146-4214-8E5E-55F1F5145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23523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60" imgH="360" progId="TCLayout.ActiveDocument.1">
                  <p:embed/>
                </p:oleObj>
              </mc:Choice>
              <mc:Fallback>
                <p:oleObj name="think-cell Slide" r:id="rId36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C4C89E9-8146-4214-8E5E-55F1F5145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65188" y="1200151"/>
            <a:ext cx="7415212" cy="32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 userDrawn="1">
            <p:ph type="dt" sz="half" idx="2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r>
              <a:rPr lang="en-GB"/>
              <a:t>5 October 2023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65188" y="4789627"/>
            <a:ext cx="94039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595959"/>
                </a:solidFill>
              </a:defRPr>
            </a:lvl1pPr>
          </a:lstStyle>
          <a:p>
            <a:fld id="{3A483F72-6696-D64B-9F37-DCAA558658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"/>
          <p:cNvSpPr>
            <a:spLocks noGrp="1"/>
          </p:cNvSpPr>
          <p:nvPr userDrawn="1">
            <p:ph type="ftr" sz="quarter" idx="3"/>
          </p:nvPr>
        </p:nvSpPr>
        <p:spPr>
          <a:xfrm>
            <a:off x="2263700" y="4834526"/>
            <a:ext cx="2803454" cy="936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00">
                <a:solidFill>
                  <a:srgbClr val="595959"/>
                </a:solidFill>
                <a:latin typeface="+mn-lt"/>
              </a:defRPr>
            </a:lvl1pPr>
          </a:lstStyle>
          <a:p>
            <a:endParaRPr lang="en-GB"/>
          </a:p>
        </p:txBody>
      </p:sp>
      <p:sp>
        <p:nvSpPr>
          <p:cNvPr id="8" name="SEC_SecurityLevel"/>
          <p:cNvSpPr txBox="1"/>
          <p:nvPr userDrawn="1"/>
        </p:nvSpPr>
        <p:spPr>
          <a:xfrm>
            <a:off x="0" y="4835793"/>
            <a:ext cx="736955" cy="9233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endParaRPr lang="en-GB" sz="60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9A2532-7004-4A9D-92E5-5CAFAE38B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41" t="24085" r="9554" b="24231"/>
          <a:stretch/>
        </p:blipFill>
        <p:spPr>
          <a:xfrm>
            <a:off x="7388003" y="4714806"/>
            <a:ext cx="959103" cy="23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874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1" r:id="rId28"/>
    <p:sldLayoutId id="2147483892" r:id="rId29"/>
    <p:sldLayoutId id="2147483893" r:id="rId30"/>
    <p:sldLayoutId id="2147483894" r:id="rId31"/>
    <p:sldLayoutId id="2147483895" r:id="rId32"/>
  </p:sldLayoutIdLst>
  <p:hf hdr="0" ftr="0"/>
  <p:txStyles>
    <p:titleStyle>
      <a:lvl1pPr algn="l" defTabSz="457200" rtl="0" eaLnBrk="1" latinLnBrk="0" hangingPunct="1">
        <a:lnSpc>
          <a:spcPct val="91000"/>
        </a:lnSpc>
        <a:spcBef>
          <a:spcPct val="0"/>
        </a:spcBef>
        <a:buNone/>
        <a:defRPr sz="2400" kern="1200">
          <a:solidFill>
            <a:srgbClr val="0033A0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4572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+mn-lt"/>
          <a:ea typeface="+mn-ea"/>
          <a:cs typeface="+mn-cs"/>
        </a:defRPr>
      </a:lvl1pPr>
      <a:lvl2pPr marL="432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457200" rtl="0" eaLnBrk="1" latinLnBrk="0" hangingPunct="1">
        <a:lnSpc>
          <a:spcPct val="100000"/>
        </a:lnSpc>
        <a:spcBef>
          <a:spcPts val="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54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2777">
          <p15:clr>
            <a:srgbClr val="F26B43"/>
          </p15:clr>
        </p15:guide>
        <p15:guide id="4" pos="4536">
          <p15:clr>
            <a:srgbClr val="F26B43"/>
          </p15:clr>
        </p15:guide>
        <p15:guide id="5" pos="52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11.xml"/><Relationship Id="rId7" Type="http://schemas.openxmlformats.org/officeDocument/2006/relationships/image" Target="../media/image38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1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7" Type="http://schemas.openxmlformats.org/officeDocument/2006/relationships/image" Target="../media/image46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hyperlink" Target="https://hempelgroup.sharepoint.com/GlobalNews/Pages/Sustainability-%E2%80%93-Foundation-launches-today.aspx" TargetMode="Externa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1.emf"/><Relationship Id="rId2" Type="http://schemas.openxmlformats.org/officeDocument/2006/relationships/slideLayout" Target="../slideLayouts/slideLayout127.xml"/><Relationship Id="rId1" Type="http://schemas.openxmlformats.org/officeDocument/2006/relationships/tags" Target="../tags/tag14.xml"/><Relationship Id="rId6" Type="http://schemas.openxmlformats.org/officeDocument/2006/relationships/image" Target="../media/image50.png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.xml"/><Relationship Id="rId6" Type="http://schemas.openxmlformats.org/officeDocument/2006/relationships/image" Target="../media/image52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D9AC06-3B9C-6203-E7FF-BA610F9CDB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D9AC06-3B9C-6203-E7FF-BA610F9CDB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br>
              <a:rPr lang="en-GB" sz="1600" dirty="0"/>
            </a:br>
            <a:r>
              <a:rPr lang="en-GB" sz="2400" dirty="0"/>
              <a:t>Engaging suppliers for scope 3 reductions</a:t>
            </a:r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r>
              <a:rPr lang="en-US" sz="1800" dirty="0"/>
              <a:t>Dagny Nome</a:t>
            </a:r>
            <a:br>
              <a:rPr lang="en-US" sz="1800" dirty="0"/>
            </a:br>
            <a:r>
              <a:rPr lang="en-US" sz="1800" dirty="0"/>
              <a:t>Procurement Sustainability </a:t>
            </a:r>
            <a:br>
              <a:rPr lang="en-US" sz="1800" dirty="0"/>
            </a:br>
            <a:r>
              <a:rPr lang="en-US" sz="1800" dirty="0"/>
              <a:t>Manager</a:t>
            </a:r>
            <a:br>
              <a:rPr lang="en-DK" sz="2400" dirty="0"/>
            </a:br>
            <a:br>
              <a:rPr lang="en-GB" sz="2400" dirty="0"/>
            </a:br>
            <a:br>
              <a:rPr lang="en-GB" sz="2400" dirty="0"/>
            </a:br>
            <a:br>
              <a:rPr lang="en-GB" sz="1600" i="1" dirty="0"/>
            </a:br>
            <a:br>
              <a:rPr lang="en-GB" sz="1600" i="1" dirty="0"/>
            </a:br>
            <a:br>
              <a:rPr lang="en-GB" sz="1600" i="1" dirty="0"/>
            </a:br>
            <a:br>
              <a:rPr lang="en-GB" sz="1600" dirty="0"/>
            </a:br>
            <a:br>
              <a:rPr lang="en-GB" sz="1600" dirty="0"/>
            </a:br>
            <a:br>
              <a:rPr lang="en-GB" sz="1600" dirty="0"/>
            </a:br>
            <a:br>
              <a:rPr lang="en-GB" sz="1600" dirty="0"/>
            </a:br>
            <a:endParaRPr lang="en-GB" sz="16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B000F99-C309-A3C9-D5B0-8E40BBC7AD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050" i="1" dirty="0"/>
              <a:t>Scope 3 Strategy Day</a:t>
            </a:r>
          </a:p>
          <a:p>
            <a:r>
              <a:rPr lang="en-GB" sz="1050" i="1" dirty="0"/>
              <a:t>London, UK</a:t>
            </a:r>
            <a:br>
              <a:rPr lang="en-GB" sz="1050" i="1" dirty="0"/>
            </a:br>
            <a:r>
              <a:rPr lang="en-GB" sz="1050" i="1" dirty="0"/>
              <a:t>23</a:t>
            </a:r>
            <a:r>
              <a:rPr lang="en-GB" sz="1050" i="1" baseline="30000" dirty="0"/>
              <a:t>rd</a:t>
            </a:r>
            <a:r>
              <a:rPr lang="en-GB" sz="1050" i="1" dirty="0"/>
              <a:t> January 2024</a:t>
            </a:r>
            <a:endParaRPr lang="en-DK" sz="1050" dirty="0"/>
          </a:p>
        </p:txBody>
      </p:sp>
      <p:pic>
        <p:nvPicPr>
          <p:cNvPr id="43" name="Picture Placeholder 2">
            <a:extLst>
              <a:ext uri="{FF2B5EF4-FFF2-40B4-BE49-F238E27FC236}">
                <a16:creationId xmlns:a16="http://schemas.microsoft.com/office/drawing/2014/main" id="{6BDE447F-5E4D-C9A0-7906-9072EBCB3268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3"/>
            </p:custDataLst>
          </p:nvPr>
        </p:nvPicPr>
        <p:blipFill rotWithShape="1">
          <a:blip r:embed="rId8"/>
          <a:srcRect t="13502" b="13502"/>
          <a:stretch/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272391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C0CFFC-C4AC-5316-71E0-B208889610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October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8ED8EC-87BE-1BD0-87A4-D7ED700F12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83F72-6696-D64B-9F37-DCAA5586588F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8312BF-9220-726B-4EBA-8091A6494B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207" y="1685516"/>
            <a:ext cx="6959057" cy="22491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2EE9353-8072-E1E8-6937-9038E50B65FA}"/>
              </a:ext>
            </a:extLst>
          </p:cNvPr>
          <p:cNvSpPr txBox="1">
            <a:spLocks/>
          </p:cNvSpPr>
          <p:nvPr/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18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3BA5"/>
                </a:solidFill>
              </a:rPr>
              <a:t>It is a </a:t>
            </a:r>
            <a:r>
              <a:rPr lang="en-US" sz="2400" b="1" dirty="0">
                <a:solidFill>
                  <a:srgbClr val="00B0F0"/>
                </a:solidFill>
              </a:rPr>
              <a:t>dialogue intensive </a:t>
            </a:r>
            <a:r>
              <a:rPr lang="en-US" sz="2400" dirty="0"/>
              <a:t>process, also involving the procurement team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930625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F2B8A-94F2-3C91-0580-410365EDF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s: How to make meetings impactful</a:t>
            </a:r>
            <a:endParaRPr lang="en-D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8553C-A271-B7D6-5E9F-E2B5A99EB0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 sz="1400" dirty="0"/>
          </a:p>
          <a:p>
            <a:pPr marL="285750" indent="-285750">
              <a:buFontTx/>
              <a:buChar char="-"/>
            </a:pPr>
            <a:r>
              <a:rPr lang="en-US" sz="1400" dirty="0"/>
              <a:t>Take time to explain the WHY: It is not just a screening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Get the right participants: Build a bridge between “commercial” and “sustainability”</a:t>
            </a:r>
          </a:p>
          <a:p>
            <a:pPr marL="501750" lvl="1" indent="-285750">
              <a:buFontTx/>
              <a:buChar char="-"/>
            </a:pPr>
            <a:r>
              <a:rPr lang="en-US" dirty="0"/>
              <a:t>Include the right people mix – like category managers, product experts, environmental specialists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Be humble: “We need to understand and you are the experts”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Be clear about the business case: </a:t>
            </a:r>
            <a:r>
              <a:rPr lang="en-US" dirty="0"/>
              <a:t>Sustainability </a:t>
            </a:r>
            <a:r>
              <a:rPr lang="en-US" sz="1400" dirty="0"/>
              <a:t>equals commercial value</a:t>
            </a:r>
          </a:p>
          <a:p>
            <a:pPr marL="285750" indent="-285750">
              <a:buFontTx/>
              <a:buChar char="-"/>
            </a:pPr>
            <a:r>
              <a:rPr lang="en-US" dirty="0"/>
              <a:t>Be willing to help: Don’t worry, not all will ask.. 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Be ope</a:t>
            </a:r>
            <a:r>
              <a:rPr lang="en-US" dirty="0"/>
              <a:t>n about challenges</a:t>
            </a:r>
            <a:r>
              <a:rPr lang="en-US" sz="1400" dirty="0"/>
              <a:t>: We learn together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Set the meetings up for an open exchange on strategy, market perspectives, product opportunities</a:t>
            </a:r>
          </a:p>
          <a:p>
            <a:pPr marL="285750" indent="-285750">
              <a:buFontTx/>
              <a:buChar char="-"/>
            </a:pPr>
            <a:r>
              <a:rPr lang="en-US" dirty="0"/>
              <a:t>Explore opportunities – don’t just set a score</a:t>
            </a:r>
            <a:endParaRPr lang="en-US" sz="1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541764-C91F-F64C-5B48-DB6A6DBF1E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4307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ED1355-2ED8-453E-95EA-9F6289963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304800"/>
            <a:ext cx="6830219" cy="763494"/>
          </a:xfrm>
        </p:spPr>
        <p:txBody>
          <a:bodyPr/>
          <a:lstStyle/>
          <a:p>
            <a:r>
              <a:rPr lang="en-US" sz="2000" dirty="0"/>
              <a:t>The </a:t>
            </a:r>
            <a:r>
              <a:rPr lang="en-US" sz="2000" b="1" dirty="0"/>
              <a:t>company scorecard </a:t>
            </a:r>
            <a:r>
              <a:rPr lang="en-US" sz="2000" dirty="0"/>
              <a:t>is our feedback to suppliers and a tool for continuous development</a:t>
            </a:r>
            <a:endParaRPr lang="en-DK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B96179-1392-4FD7-9BD7-B81A12E18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83F72-6696-D64B-9F37-DCAA5586588F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9C5161-D72D-463D-8E5D-52423BB57BD1}"/>
              </a:ext>
            </a:extLst>
          </p:cNvPr>
          <p:cNvSpPr txBox="1"/>
          <p:nvPr/>
        </p:nvSpPr>
        <p:spPr>
          <a:xfrm>
            <a:off x="863600" y="1907318"/>
            <a:ext cx="213572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urity assessm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urity and profile to compare with the peer group</a:t>
            </a:r>
            <a:endParaRPr kumimoji="0" lang="en-DK" sz="11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0D41AC-3D9E-47C9-B68B-2E3A37B5FFC8}"/>
              </a:ext>
            </a:extLst>
          </p:cNvPr>
          <p:cNvSpPr txBox="1"/>
          <p:nvPr/>
        </p:nvSpPr>
        <p:spPr>
          <a:xfrm>
            <a:off x="863600" y="2728352"/>
            <a:ext cx="2042586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standing supplier sustainabil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mmary of strengths and improvement opportunities is basis for follow-up and dialogue.</a:t>
            </a:r>
            <a:endParaRPr kumimoji="0" lang="en-DK" sz="11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B20A69-F879-9825-4544-E5E173BDF6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05482" y="1552575"/>
            <a:ext cx="4981870" cy="2749296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57B32425-4DEB-4D8C-986B-53F119B0EA05}"/>
              </a:ext>
            </a:extLst>
          </p:cNvPr>
          <p:cNvCxnSpPr>
            <a:cxnSpLocks/>
          </p:cNvCxnSpPr>
          <p:nvPr/>
        </p:nvCxnSpPr>
        <p:spPr>
          <a:xfrm>
            <a:off x="2925714" y="2249942"/>
            <a:ext cx="472911" cy="15931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866B7592-E6DF-4450-A4BF-A8053C063706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2906186" y="3151545"/>
            <a:ext cx="760939" cy="40320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DCDDAC5-41C7-EEDD-DB3B-89D92EF71FD9}"/>
              </a:ext>
            </a:extLst>
          </p:cNvPr>
          <p:cNvSpPr txBox="1"/>
          <p:nvPr/>
        </p:nvSpPr>
        <p:spPr>
          <a:xfrm>
            <a:off x="6759575" y="1322253"/>
            <a:ext cx="171752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chmar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rgbClr val="595959"/>
                </a:solidFill>
                <a:latin typeface="Arial"/>
              </a:rPr>
              <a:t>Comparison with industry/category peers </a:t>
            </a:r>
            <a:endParaRPr kumimoji="0" lang="en-DK" sz="11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81DAF59-1646-D3B1-6296-985AB3753799}"/>
              </a:ext>
            </a:extLst>
          </p:cNvPr>
          <p:cNvCxnSpPr>
            <a:cxnSpLocks/>
          </p:cNvCxnSpPr>
          <p:nvPr/>
        </p:nvCxnSpPr>
        <p:spPr>
          <a:xfrm flipH="1">
            <a:off x="7448550" y="1907318"/>
            <a:ext cx="104775" cy="342624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4363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4019A8F-7B22-D7DD-6BAD-AB52D954D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2561" y="121651"/>
            <a:ext cx="1415678" cy="79492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5B14D2-50B1-9B23-DF6D-583EE4FA9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046A93-2FC3-221A-1465-7607B3FC2A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800" y="1572350"/>
            <a:ext cx="5193792" cy="2947416"/>
          </a:xfrm>
          <a:prstGeom prst="rect">
            <a:avLst/>
          </a:prstGeom>
        </p:spPr>
      </p:pic>
      <p:sp>
        <p:nvSpPr>
          <p:cNvPr id="13" name="Title 6">
            <a:extLst>
              <a:ext uri="{FF2B5EF4-FFF2-40B4-BE49-F238E27FC236}">
                <a16:creationId xmlns:a16="http://schemas.microsoft.com/office/drawing/2014/main" id="{B776F465-20C0-0727-D218-4DB739F74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274369"/>
            <a:ext cx="6430827" cy="763494"/>
          </a:xfrm>
        </p:spPr>
        <p:txBody>
          <a:bodyPr/>
          <a:lstStyle/>
          <a:p>
            <a:r>
              <a:rPr lang="en-US" sz="2000" dirty="0"/>
              <a:t>The </a:t>
            </a:r>
            <a:r>
              <a:rPr lang="en-US" sz="2000" b="1" dirty="0"/>
              <a:t>performance review </a:t>
            </a:r>
            <a:r>
              <a:rPr lang="en-US" sz="2000" dirty="0"/>
              <a:t>ensures regular update on sustainability metrics to category managers</a:t>
            </a:r>
            <a:endParaRPr lang="en-DK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7F5DC1-92CD-B040-05F3-F42EC7754B61}"/>
              </a:ext>
            </a:extLst>
          </p:cNvPr>
          <p:cNvSpPr txBox="1"/>
          <p:nvPr/>
        </p:nvSpPr>
        <p:spPr>
          <a:xfrm>
            <a:off x="6395901" y="2060298"/>
            <a:ext cx="213572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595959"/>
                </a:solidFill>
                <a:latin typeface="Arial"/>
              </a:rPr>
              <a:t>Latest dat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th Screening and EcoVadi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6C4BEA7-2000-8367-7521-580D672D3624}"/>
              </a:ext>
            </a:extLst>
          </p:cNvPr>
          <p:cNvCxnSpPr>
            <a:cxnSpLocks/>
          </p:cNvCxnSpPr>
          <p:nvPr/>
        </p:nvCxnSpPr>
        <p:spPr>
          <a:xfrm flipH="1">
            <a:off x="5589292" y="2144937"/>
            <a:ext cx="687683" cy="113544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AA0E40F-A0F8-9A86-BDD2-C40A568615BA}"/>
              </a:ext>
            </a:extLst>
          </p:cNvPr>
          <p:cNvSpPr txBox="1"/>
          <p:nvPr/>
        </p:nvSpPr>
        <p:spPr>
          <a:xfrm>
            <a:off x="6407150" y="2659673"/>
            <a:ext cx="213572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595959"/>
                </a:solidFill>
                <a:latin typeface="Arial"/>
              </a:rPr>
              <a:t>Identifies low performance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rective actions with low performers helps prioritize</a:t>
            </a:r>
            <a:endParaRPr kumimoji="0" lang="en-DK" sz="11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C293AB6-D6D2-B5CF-10C2-79444E9ADFE4}"/>
              </a:ext>
            </a:extLst>
          </p:cNvPr>
          <p:cNvCxnSpPr>
            <a:cxnSpLocks/>
          </p:cNvCxnSpPr>
          <p:nvPr/>
        </p:nvCxnSpPr>
        <p:spPr>
          <a:xfrm flipH="1" flipV="1">
            <a:off x="5589292" y="2812018"/>
            <a:ext cx="687683" cy="13647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AB02C40-2D05-C4BE-ED06-A3E604EEFDAC}"/>
              </a:ext>
            </a:extLst>
          </p:cNvPr>
          <p:cNvSpPr txBox="1"/>
          <p:nvPr/>
        </p:nvSpPr>
        <p:spPr>
          <a:xfrm>
            <a:off x="6407150" y="3428325"/>
            <a:ext cx="213572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595959"/>
                </a:solidFill>
                <a:latin typeface="Arial"/>
              </a:rPr>
              <a:t>Basis for category strategy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Category score” is spend-weighted</a:t>
            </a:r>
            <a:endParaRPr kumimoji="0" lang="en-DK" sz="1100" b="0" i="0" u="none" strike="noStrike" kern="1200" cap="none" spc="0" normalizeH="0" baseline="0" noProof="0" dirty="0" err="1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58AC38-E834-DEB1-2444-D673C0EB6538}"/>
              </a:ext>
            </a:extLst>
          </p:cNvPr>
          <p:cNvCxnSpPr>
            <a:cxnSpLocks/>
          </p:cNvCxnSpPr>
          <p:nvPr/>
        </p:nvCxnSpPr>
        <p:spPr>
          <a:xfrm flipH="1" flipV="1">
            <a:off x="5589292" y="3668593"/>
            <a:ext cx="687683" cy="13647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250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0ED913-5D38-1F13-D512-A1C0C65170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8CE61C-910F-33DC-368F-AE24CE36F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earnings: Challenges and opportunities</a:t>
            </a:r>
            <a:endParaRPr lang="en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A3A24D-7787-EC5B-F1DA-1B7658597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6B72357-862D-2D0C-BC8F-11ADD08E533F}"/>
              </a:ext>
            </a:extLst>
          </p:cNvPr>
          <p:cNvSpPr/>
          <p:nvPr/>
        </p:nvSpPr>
        <p:spPr>
          <a:xfrm>
            <a:off x="1959550" y="1453744"/>
            <a:ext cx="1498600" cy="1498600"/>
          </a:xfrm>
          <a:prstGeom prst="ellipse">
            <a:avLst/>
          </a:prstGeom>
          <a:gradFill flip="none" rotWithShape="1">
            <a:gsLst>
              <a:gs pos="0">
                <a:srgbClr val="8A2A2B"/>
              </a:gs>
              <a:gs pos="40000">
                <a:srgbClr val="A6192E"/>
              </a:gs>
              <a:gs pos="100000">
                <a:srgbClr val="E3061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r>
              <a:rPr lang="en-GB" sz="1200" dirty="0"/>
              <a:t>No, thank you </a:t>
            </a:r>
            <a:endParaRPr lang="en-GB" sz="14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CCB5138-3F80-B884-1844-B0B86EC30DCF}"/>
              </a:ext>
            </a:extLst>
          </p:cNvPr>
          <p:cNvSpPr/>
          <p:nvPr/>
        </p:nvSpPr>
        <p:spPr>
          <a:xfrm>
            <a:off x="490538" y="2139034"/>
            <a:ext cx="1498600" cy="1498600"/>
          </a:xfrm>
          <a:prstGeom prst="ellipse">
            <a:avLst/>
          </a:prstGeom>
          <a:gradFill flip="none" rotWithShape="1">
            <a:gsLst>
              <a:gs pos="0">
                <a:srgbClr val="8A2A2B"/>
              </a:gs>
              <a:gs pos="40000">
                <a:srgbClr val="A6192E"/>
              </a:gs>
              <a:gs pos="100000">
                <a:srgbClr val="E30613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r>
              <a:rPr lang="en-GB" sz="1200" dirty="0"/>
              <a:t>Lack of transparency</a:t>
            </a:r>
            <a:endParaRPr lang="en-GB" sz="140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E1C63EB-AE0B-009C-23B0-05B475A96703}"/>
              </a:ext>
            </a:extLst>
          </p:cNvPr>
          <p:cNvSpPr>
            <a:spLocks noChangeAspect="1"/>
          </p:cNvSpPr>
          <p:nvPr/>
        </p:nvSpPr>
        <p:spPr>
          <a:xfrm>
            <a:off x="1944687" y="3205937"/>
            <a:ext cx="1583690" cy="1583690"/>
          </a:xfrm>
          <a:prstGeom prst="ellipse">
            <a:avLst/>
          </a:prstGeom>
          <a:gradFill flip="none" rotWithShape="1">
            <a:gsLst>
              <a:gs pos="0">
                <a:srgbClr val="D73A16"/>
              </a:gs>
              <a:gs pos="40000">
                <a:srgbClr val="EC6608"/>
              </a:gs>
              <a:gs pos="100000">
                <a:srgbClr val="F59C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200" dirty="0"/>
              <a:t>Lack of skills / competenci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15CDFE-A00E-295E-C59E-B2B09AF2B3B3}"/>
              </a:ext>
            </a:extLst>
          </p:cNvPr>
          <p:cNvSpPr>
            <a:spLocks noChangeAspect="1"/>
          </p:cNvSpPr>
          <p:nvPr/>
        </p:nvSpPr>
        <p:spPr>
          <a:xfrm>
            <a:off x="5236213" y="988060"/>
            <a:ext cx="1583690" cy="1583690"/>
          </a:xfrm>
          <a:prstGeom prst="ellipse">
            <a:avLst/>
          </a:prstGeom>
          <a:gradFill flip="none" rotWithShape="1">
            <a:gsLst>
              <a:gs pos="0">
                <a:srgbClr val="2C5234"/>
              </a:gs>
              <a:gs pos="40000">
                <a:srgbClr val="4C8C2B"/>
              </a:gs>
              <a:gs pos="100000">
                <a:srgbClr val="64A70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200" dirty="0"/>
              <a:t>New collaboration opportunitie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8914E24-2852-FF84-EF70-7A1570237BE3}"/>
              </a:ext>
            </a:extLst>
          </p:cNvPr>
          <p:cNvSpPr>
            <a:spLocks noChangeAspect="1"/>
          </p:cNvSpPr>
          <p:nvPr/>
        </p:nvSpPr>
        <p:spPr>
          <a:xfrm>
            <a:off x="4394775" y="2802151"/>
            <a:ext cx="1583690" cy="1583690"/>
          </a:xfrm>
          <a:prstGeom prst="ellipse">
            <a:avLst/>
          </a:prstGeom>
          <a:gradFill flip="none" rotWithShape="1">
            <a:gsLst>
              <a:gs pos="0">
                <a:srgbClr val="2C5234"/>
              </a:gs>
              <a:gs pos="40000">
                <a:srgbClr val="4C8C2B"/>
              </a:gs>
              <a:gs pos="100000">
                <a:srgbClr val="64A70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200" dirty="0"/>
              <a:t>Sustainable product opportunitie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597E26F-72CE-8B21-D405-11B757FCCACD}"/>
              </a:ext>
            </a:extLst>
          </p:cNvPr>
          <p:cNvSpPr/>
          <p:nvPr/>
        </p:nvSpPr>
        <p:spPr>
          <a:xfrm>
            <a:off x="7099366" y="2456637"/>
            <a:ext cx="1498600" cy="1498600"/>
          </a:xfrm>
          <a:prstGeom prst="ellipse">
            <a:avLst/>
          </a:prstGeom>
          <a:gradFill flip="none" rotWithShape="1">
            <a:gsLst>
              <a:gs pos="0">
                <a:srgbClr val="0033A0"/>
              </a:gs>
              <a:gs pos="40000">
                <a:srgbClr val="0076CF"/>
              </a:gs>
              <a:gs pos="100000">
                <a:srgbClr val="009FD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0" rtlCol="0" anchor="ctr"/>
          <a:lstStyle/>
          <a:p>
            <a:r>
              <a:rPr lang="en-GB" sz="1200" dirty="0"/>
              <a:t>Procurement as a change agen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197582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1DF4B70-1320-5259-50A1-8614F259D8E5}"/>
              </a:ext>
            </a:extLst>
          </p:cNvPr>
          <p:cNvCxnSpPr>
            <a:cxnSpLocks/>
            <a:stCxn id="12" idx="0"/>
          </p:cNvCxnSpPr>
          <p:nvPr/>
        </p:nvCxnSpPr>
        <p:spPr>
          <a:xfrm flipV="1">
            <a:off x="1043657" y="3018125"/>
            <a:ext cx="12824" cy="495173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2BE84D3-B80D-A2B9-54FD-A89C49873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02" y="304800"/>
            <a:ext cx="8010598" cy="763494"/>
          </a:xfrm>
        </p:spPr>
        <p:txBody>
          <a:bodyPr/>
          <a:lstStyle/>
          <a:p>
            <a:r>
              <a:rPr lang="en-GB" sz="2000" dirty="0"/>
              <a:t>Stepping up in 2024</a:t>
            </a:r>
            <a:br>
              <a:rPr lang="en-GB" sz="2000" dirty="0"/>
            </a:br>
            <a:r>
              <a:rPr lang="en-GB" sz="2000" dirty="0"/>
              <a:t>From engagement to impa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0A9324-6FAE-CBDC-BF8A-EAC5DFA257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rtl="0"/>
            <a:fld id="{3A483F72-6696-D64B-9F37-DCAA5586588F}" type="slidenum">
              <a:rPr lang="en-GB" smtClean="0"/>
              <a:pPr rtl="0"/>
              <a:t>15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80AB96-99B2-0590-99F8-0595A102AC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9F71FF0-EB15-EECC-21BC-2209E9F3403D}"/>
              </a:ext>
            </a:extLst>
          </p:cNvPr>
          <p:cNvCxnSpPr>
            <a:cxnSpLocks/>
          </p:cNvCxnSpPr>
          <p:nvPr/>
        </p:nvCxnSpPr>
        <p:spPr>
          <a:xfrm>
            <a:off x="434544" y="3018125"/>
            <a:ext cx="8621632" cy="11243"/>
          </a:xfrm>
          <a:prstGeom prst="straightConnector1">
            <a:avLst/>
          </a:prstGeom>
          <a:ln w="9525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4CEFAA8-B54E-C318-F6D2-1159DF52A9C0}"/>
              </a:ext>
            </a:extLst>
          </p:cNvPr>
          <p:cNvSpPr txBox="1"/>
          <p:nvPr/>
        </p:nvSpPr>
        <p:spPr>
          <a:xfrm>
            <a:off x="959227" y="3129205"/>
            <a:ext cx="230832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Dec</a:t>
            </a:r>
          </a:p>
          <a:p>
            <a:r>
              <a:rPr lang="en-US" sz="800" b="1" dirty="0"/>
              <a:t>2020</a:t>
            </a:r>
            <a:endParaRPr lang="en-DK" sz="800" b="1" dirty="0" err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7F5279-B151-14B9-66CB-62124AF621A6}"/>
              </a:ext>
            </a:extLst>
          </p:cNvPr>
          <p:cNvSpPr txBox="1"/>
          <p:nvPr/>
        </p:nvSpPr>
        <p:spPr>
          <a:xfrm>
            <a:off x="504814" y="3513298"/>
            <a:ext cx="107768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Double Impact</a:t>
            </a:r>
          </a:p>
          <a:p>
            <a:r>
              <a:rPr lang="en-US" sz="800" dirty="0"/>
              <a:t>Sustainability part of Hempel’s strategy for the first time</a:t>
            </a:r>
            <a:endParaRPr lang="en-DK" sz="800" dirty="0" err="1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6B53908-07BD-DC42-E445-D9A6539C2133}"/>
              </a:ext>
            </a:extLst>
          </p:cNvPr>
          <p:cNvCxnSpPr>
            <a:cxnSpLocks/>
          </p:cNvCxnSpPr>
          <p:nvPr/>
        </p:nvCxnSpPr>
        <p:spPr>
          <a:xfrm flipV="1">
            <a:off x="1751806" y="3018125"/>
            <a:ext cx="0" cy="954201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337C92D-A948-FF50-5F65-871066248A4E}"/>
              </a:ext>
            </a:extLst>
          </p:cNvPr>
          <p:cNvSpPr txBox="1"/>
          <p:nvPr/>
        </p:nvSpPr>
        <p:spPr>
          <a:xfrm>
            <a:off x="1378895" y="4039156"/>
            <a:ext cx="107768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err="1"/>
              <a:t>FutureProof</a:t>
            </a:r>
            <a:endParaRPr lang="en-US" sz="800" b="1" dirty="0"/>
          </a:p>
          <a:p>
            <a:r>
              <a:rPr lang="en-US" sz="800" dirty="0"/>
              <a:t>Sustainability framework launched</a:t>
            </a:r>
            <a:endParaRPr lang="en-DK" sz="800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640A4E-ECA4-EDB0-7E81-774103395244}"/>
              </a:ext>
            </a:extLst>
          </p:cNvPr>
          <p:cNvSpPr txBox="1"/>
          <p:nvPr/>
        </p:nvSpPr>
        <p:spPr>
          <a:xfrm>
            <a:off x="1616129" y="3142600"/>
            <a:ext cx="302968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March</a:t>
            </a:r>
          </a:p>
          <a:p>
            <a:r>
              <a:rPr lang="en-US" sz="800" b="1" dirty="0"/>
              <a:t>2021</a:t>
            </a:r>
            <a:endParaRPr lang="en-DK" sz="800" b="1" dirty="0" err="1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1A2294B-516F-50D0-E631-368154406771}"/>
              </a:ext>
            </a:extLst>
          </p:cNvPr>
          <p:cNvCxnSpPr>
            <a:cxnSpLocks/>
          </p:cNvCxnSpPr>
          <p:nvPr/>
        </p:nvCxnSpPr>
        <p:spPr>
          <a:xfrm>
            <a:off x="2182813" y="1944866"/>
            <a:ext cx="0" cy="1073259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F601DDF-3051-5D6F-7211-06371A1A2634}"/>
              </a:ext>
            </a:extLst>
          </p:cNvPr>
          <p:cNvSpPr txBox="1"/>
          <p:nvPr/>
        </p:nvSpPr>
        <p:spPr>
          <a:xfrm>
            <a:off x="1917738" y="1452423"/>
            <a:ext cx="149821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Procurement Sustainability Screening</a:t>
            </a:r>
            <a:r>
              <a:rPr lang="en-US" sz="800" dirty="0"/>
              <a:t> launched</a:t>
            </a:r>
          </a:p>
          <a:p>
            <a:r>
              <a:rPr lang="en-US" sz="800" dirty="0"/>
              <a:t>Target to screen 70% of total spend by 2025</a:t>
            </a:r>
            <a:endParaRPr lang="en-DK" sz="800" dirty="0" err="1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2F57FC7-1D41-9B38-38EA-6928436CABD7}"/>
              </a:ext>
            </a:extLst>
          </p:cNvPr>
          <p:cNvSpPr txBox="1"/>
          <p:nvPr/>
        </p:nvSpPr>
        <p:spPr>
          <a:xfrm>
            <a:off x="2071189" y="2652665"/>
            <a:ext cx="240450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June</a:t>
            </a:r>
          </a:p>
          <a:p>
            <a:r>
              <a:rPr lang="en-US" sz="800" b="1" dirty="0"/>
              <a:t>2021</a:t>
            </a:r>
            <a:endParaRPr lang="en-DK" sz="800" b="1" dirty="0" err="1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5AAFE1E-435B-8C5D-13BB-2F1BFF40436A}"/>
              </a:ext>
            </a:extLst>
          </p:cNvPr>
          <p:cNvCxnSpPr>
            <a:cxnSpLocks/>
          </p:cNvCxnSpPr>
          <p:nvPr/>
        </p:nvCxnSpPr>
        <p:spPr>
          <a:xfrm flipV="1">
            <a:off x="3148458" y="3018125"/>
            <a:ext cx="0" cy="579804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473C7174-4A23-CAF4-E929-5E0B5DE6E10D}"/>
              </a:ext>
            </a:extLst>
          </p:cNvPr>
          <p:cNvSpPr txBox="1"/>
          <p:nvPr/>
        </p:nvSpPr>
        <p:spPr>
          <a:xfrm>
            <a:off x="2836476" y="3597929"/>
            <a:ext cx="10776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Science Based Targets</a:t>
            </a:r>
          </a:p>
          <a:p>
            <a:r>
              <a:rPr lang="en-US" sz="800" dirty="0"/>
              <a:t>Hempel commits to most ambitious climate targets in our industry</a:t>
            </a:r>
            <a:endParaRPr lang="en-DK" sz="800" dirty="0" err="1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43EFA3-19E3-004B-0FBD-BB39C97C717E}"/>
              </a:ext>
            </a:extLst>
          </p:cNvPr>
          <p:cNvSpPr txBox="1"/>
          <p:nvPr/>
        </p:nvSpPr>
        <p:spPr>
          <a:xfrm>
            <a:off x="2996974" y="3122741"/>
            <a:ext cx="302968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March</a:t>
            </a:r>
          </a:p>
          <a:p>
            <a:r>
              <a:rPr lang="en-US" sz="800" b="1" dirty="0"/>
              <a:t>2022</a:t>
            </a:r>
            <a:endParaRPr lang="en-DK" sz="800" b="1" dirty="0" err="1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421BB8EC-CBC9-EB34-831C-716D8FD8C400}"/>
              </a:ext>
            </a:extLst>
          </p:cNvPr>
          <p:cNvCxnSpPr>
            <a:cxnSpLocks/>
          </p:cNvCxnSpPr>
          <p:nvPr/>
        </p:nvCxnSpPr>
        <p:spPr>
          <a:xfrm flipV="1">
            <a:off x="5749750" y="3026495"/>
            <a:ext cx="0" cy="579804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EF92E99B-0641-E4C6-765D-336B8653C816}"/>
              </a:ext>
            </a:extLst>
          </p:cNvPr>
          <p:cNvSpPr txBox="1"/>
          <p:nvPr/>
        </p:nvSpPr>
        <p:spPr>
          <a:xfrm>
            <a:off x="5437768" y="3606299"/>
            <a:ext cx="107768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A rating Supplier Engagement</a:t>
            </a:r>
          </a:p>
          <a:p>
            <a:r>
              <a:rPr lang="en-US" sz="800" dirty="0"/>
              <a:t>Carbon Disclosure Project gives Hempel an A rating for leading Supplier Engagement practice</a:t>
            </a:r>
            <a:endParaRPr lang="en-DK" sz="800" dirty="0" err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59F234-3D18-01E0-5C88-278130FF27EE}"/>
              </a:ext>
            </a:extLst>
          </p:cNvPr>
          <p:cNvSpPr txBox="1"/>
          <p:nvPr/>
        </p:nvSpPr>
        <p:spPr>
          <a:xfrm>
            <a:off x="5598266" y="3131111"/>
            <a:ext cx="234038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April</a:t>
            </a:r>
          </a:p>
          <a:p>
            <a:r>
              <a:rPr lang="en-US" sz="800" b="1" dirty="0"/>
              <a:t>2023</a:t>
            </a:r>
            <a:endParaRPr lang="en-DK" sz="800" b="1" dirty="0" err="1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790273D4-CF6C-E54C-AADD-7389C69E3D0D}"/>
              </a:ext>
            </a:extLst>
          </p:cNvPr>
          <p:cNvCxnSpPr>
            <a:cxnSpLocks/>
          </p:cNvCxnSpPr>
          <p:nvPr/>
        </p:nvCxnSpPr>
        <p:spPr>
          <a:xfrm>
            <a:off x="4771881" y="2493169"/>
            <a:ext cx="0" cy="524956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3AF8167-4BB0-CA6D-53C5-CBDDE99940A8}"/>
              </a:ext>
            </a:extLst>
          </p:cNvPr>
          <p:cNvSpPr txBox="1"/>
          <p:nvPr/>
        </p:nvSpPr>
        <p:spPr>
          <a:xfrm>
            <a:off x="6003372" y="2243608"/>
            <a:ext cx="8935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Risk review </a:t>
            </a:r>
            <a:r>
              <a:rPr lang="en-US" sz="800" dirty="0"/>
              <a:t>launched</a:t>
            </a:r>
            <a:endParaRPr lang="en-DK" sz="800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05B8C08-991B-440C-EAC6-AB5510503FF9}"/>
              </a:ext>
            </a:extLst>
          </p:cNvPr>
          <p:cNvSpPr txBox="1"/>
          <p:nvPr/>
        </p:nvSpPr>
        <p:spPr>
          <a:xfrm>
            <a:off x="4660257" y="2652665"/>
            <a:ext cx="498534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December</a:t>
            </a:r>
          </a:p>
          <a:p>
            <a:r>
              <a:rPr lang="en-US" sz="800" b="1" dirty="0"/>
              <a:t>2022</a:t>
            </a:r>
            <a:endParaRPr lang="en-DK" sz="800" b="1" dirty="0" err="1"/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2532ABA-025F-A9BB-2AFA-7EC69154963C}"/>
              </a:ext>
            </a:extLst>
          </p:cNvPr>
          <p:cNvCxnSpPr>
            <a:cxnSpLocks/>
          </p:cNvCxnSpPr>
          <p:nvPr/>
        </p:nvCxnSpPr>
        <p:spPr>
          <a:xfrm>
            <a:off x="4199912" y="2337233"/>
            <a:ext cx="0" cy="689262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CE882D2-7A1C-71EF-7329-B827D25DA610}"/>
              </a:ext>
            </a:extLst>
          </p:cNvPr>
          <p:cNvSpPr txBox="1"/>
          <p:nvPr/>
        </p:nvSpPr>
        <p:spPr>
          <a:xfrm>
            <a:off x="3527579" y="1940709"/>
            <a:ext cx="8935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Follow up </a:t>
            </a:r>
            <a:r>
              <a:rPr lang="en-US" sz="800" dirty="0"/>
              <a:t>of low performing suppliers started</a:t>
            </a:r>
            <a:endParaRPr lang="en-DK" sz="800" dirty="0" err="1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D0C146E-715E-7ED1-1109-5037ADDBD863}"/>
              </a:ext>
            </a:extLst>
          </p:cNvPr>
          <p:cNvSpPr txBox="1"/>
          <p:nvPr/>
        </p:nvSpPr>
        <p:spPr>
          <a:xfrm>
            <a:off x="4084496" y="2667288"/>
            <a:ext cx="230832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Oct</a:t>
            </a:r>
          </a:p>
          <a:p>
            <a:r>
              <a:rPr lang="en-US" sz="800" b="1" dirty="0"/>
              <a:t>2022</a:t>
            </a:r>
            <a:endParaRPr lang="en-DK" sz="800" b="1" dirty="0" err="1"/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9279C8E3-844B-F027-369A-8FABFFF8EBDB}"/>
              </a:ext>
            </a:extLst>
          </p:cNvPr>
          <p:cNvCxnSpPr>
            <a:cxnSpLocks/>
          </p:cNvCxnSpPr>
          <p:nvPr/>
        </p:nvCxnSpPr>
        <p:spPr>
          <a:xfrm>
            <a:off x="6199809" y="2510155"/>
            <a:ext cx="0" cy="524956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B7606192-36BB-118E-43E1-38C82750D205}"/>
              </a:ext>
            </a:extLst>
          </p:cNvPr>
          <p:cNvSpPr txBox="1"/>
          <p:nvPr/>
        </p:nvSpPr>
        <p:spPr>
          <a:xfrm>
            <a:off x="6101594" y="2667288"/>
            <a:ext cx="230832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May</a:t>
            </a:r>
          </a:p>
          <a:p>
            <a:r>
              <a:rPr lang="en-US" sz="800" b="1" dirty="0"/>
              <a:t>2023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CE72A047-4ADA-8883-4D5F-099F45EBA50F}"/>
              </a:ext>
            </a:extLst>
          </p:cNvPr>
          <p:cNvCxnSpPr>
            <a:cxnSpLocks/>
          </p:cNvCxnSpPr>
          <p:nvPr/>
        </p:nvCxnSpPr>
        <p:spPr>
          <a:xfrm flipV="1">
            <a:off x="4464136" y="3016523"/>
            <a:ext cx="0" cy="579804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FB77E39E-6C04-8102-7A28-268C26ABFB25}"/>
              </a:ext>
            </a:extLst>
          </p:cNvPr>
          <p:cNvSpPr txBox="1"/>
          <p:nvPr/>
        </p:nvSpPr>
        <p:spPr>
          <a:xfrm>
            <a:off x="4152154" y="3596327"/>
            <a:ext cx="10776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Sustainability linked loan agreement</a:t>
            </a:r>
          </a:p>
          <a:p>
            <a:r>
              <a:rPr lang="en-US" sz="800" dirty="0"/>
              <a:t>Hempel links EUR 1.5 billion credit facilities to sustainability targets</a:t>
            </a:r>
            <a:endParaRPr lang="en-DK" sz="800" dirty="0" err="1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4C68313-5315-E402-01E8-355D3B6974DE}"/>
              </a:ext>
            </a:extLst>
          </p:cNvPr>
          <p:cNvSpPr txBox="1"/>
          <p:nvPr/>
        </p:nvSpPr>
        <p:spPr>
          <a:xfrm>
            <a:off x="4312652" y="3121139"/>
            <a:ext cx="234038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April</a:t>
            </a:r>
          </a:p>
          <a:p>
            <a:r>
              <a:rPr lang="en-US" sz="800" b="1" dirty="0"/>
              <a:t>2022</a:t>
            </a:r>
            <a:endParaRPr lang="en-DK" sz="800" b="1" dirty="0" err="1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EC82D8E-2533-22D7-8FAB-8BCD87855215}"/>
              </a:ext>
            </a:extLst>
          </p:cNvPr>
          <p:cNvSpPr txBox="1"/>
          <p:nvPr/>
        </p:nvSpPr>
        <p:spPr>
          <a:xfrm>
            <a:off x="4615620" y="2123036"/>
            <a:ext cx="8935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First pilot </a:t>
            </a:r>
            <a:r>
              <a:rPr lang="en-US" sz="800" dirty="0"/>
              <a:t>of sustainability in tenders</a:t>
            </a:r>
            <a:endParaRPr lang="en-DK" sz="800" dirty="0" err="1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32A69F8-2FB3-259D-DC06-F938894B1DEA}"/>
              </a:ext>
            </a:extLst>
          </p:cNvPr>
          <p:cNvSpPr txBox="1"/>
          <p:nvPr/>
        </p:nvSpPr>
        <p:spPr>
          <a:xfrm>
            <a:off x="6520387" y="1589298"/>
            <a:ext cx="6533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/>
              <a:t>Sustainable Procurement Policy </a:t>
            </a:r>
            <a:r>
              <a:rPr lang="en-US" sz="800" dirty="0"/>
              <a:t>established</a:t>
            </a:r>
            <a:endParaRPr lang="en-DK" sz="800" dirty="0" err="1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6B60FBD1-EA16-086E-D02B-5468E421A0E2}"/>
              </a:ext>
            </a:extLst>
          </p:cNvPr>
          <p:cNvCxnSpPr>
            <a:cxnSpLocks/>
          </p:cNvCxnSpPr>
          <p:nvPr/>
        </p:nvCxnSpPr>
        <p:spPr>
          <a:xfrm flipH="1">
            <a:off x="6734078" y="2123036"/>
            <a:ext cx="2491" cy="903459"/>
          </a:xfrm>
          <a:prstGeom prst="straightConnector1">
            <a:avLst/>
          </a:prstGeom>
          <a:ln w="9525">
            <a:headEnd type="none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5C376A02-8F83-D005-0809-4163B08E022D}"/>
              </a:ext>
            </a:extLst>
          </p:cNvPr>
          <p:cNvSpPr txBox="1"/>
          <p:nvPr/>
        </p:nvSpPr>
        <p:spPr>
          <a:xfrm>
            <a:off x="6635863" y="2658672"/>
            <a:ext cx="230832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/>
              <a:t>Dec</a:t>
            </a:r>
          </a:p>
          <a:p>
            <a:r>
              <a:rPr lang="en-US" sz="800" b="1" dirty="0"/>
              <a:t>2023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0106939-E515-5F82-B2AC-CA6990F408B5}"/>
              </a:ext>
            </a:extLst>
          </p:cNvPr>
          <p:cNvSpPr/>
          <p:nvPr/>
        </p:nvSpPr>
        <p:spPr>
          <a:xfrm>
            <a:off x="7320366" y="1099531"/>
            <a:ext cx="1530657" cy="18739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t"/>
          <a:lstStyle/>
          <a:p>
            <a:r>
              <a:rPr lang="en-US" sz="900" b="1" dirty="0">
                <a:solidFill>
                  <a:srgbClr val="0070C0"/>
                </a:solidFill>
              </a:rPr>
              <a:t>Next step on the journey: IMPACT</a:t>
            </a:r>
          </a:p>
          <a:p>
            <a:endParaRPr lang="en-US" sz="900" dirty="0">
              <a:solidFill>
                <a:srgbClr val="0070C0"/>
              </a:solidFill>
            </a:endParaRPr>
          </a:p>
          <a:p>
            <a:r>
              <a:rPr lang="en-US" sz="900" dirty="0">
                <a:solidFill>
                  <a:srgbClr val="0070C0"/>
                </a:solidFill>
              </a:rPr>
              <a:t>Set clear expectations to suppliers on sustainability</a:t>
            </a:r>
          </a:p>
          <a:p>
            <a:endParaRPr lang="en-US" sz="900" dirty="0">
              <a:solidFill>
                <a:srgbClr val="0070C0"/>
              </a:solidFill>
            </a:endParaRPr>
          </a:p>
          <a:p>
            <a:r>
              <a:rPr lang="en-US" sz="900" dirty="0">
                <a:solidFill>
                  <a:srgbClr val="0070C0"/>
                </a:solidFill>
              </a:rPr>
              <a:t>Set targets to improve sustainability performance in categories</a:t>
            </a:r>
            <a:br>
              <a:rPr lang="en-US" sz="900" dirty="0">
                <a:solidFill>
                  <a:srgbClr val="0070C0"/>
                </a:solidFill>
              </a:rPr>
            </a:br>
            <a:endParaRPr lang="en-US" sz="900" dirty="0">
              <a:solidFill>
                <a:srgbClr val="0070C0"/>
              </a:solidFill>
            </a:endParaRPr>
          </a:p>
          <a:p>
            <a:r>
              <a:rPr lang="en-US" sz="900" dirty="0">
                <a:solidFill>
                  <a:srgbClr val="0070C0"/>
                </a:solidFill>
              </a:rPr>
              <a:t>Empower and train procurement team</a:t>
            </a:r>
          </a:p>
          <a:p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286DE54-B45B-C1D2-403F-93D1E24DB181}"/>
              </a:ext>
            </a:extLst>
          </p:cNvPr>
          <p:cNvSpPr/>
          <p:nvPr/>
        </p:nvSpPr>
        <p:spPr>
          <a:xfrm>
            <a:off x="7320366" y="3100207"/>
            <a:ext cx="1533246" cy="111167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t"/>
          <a:lstStyle/>
          <a:p>
            <a:r>
              <a:rPr lang="en-US" sz="900" b="1" dirty="0">
                <a:solidFill>
                  <a:srgbClr val="0070C0"/>
                </a:solidFill>
              </a:rPr>
              <a:t>Realizing scope 3 reduction opportunities</a:t>
            </a:r>
          </a:p>
          <a:p>
            <a:endParaRPr lang="en-US" sz="900" b="1" dirty="0">
              <a:solidFill>
                <a:srgbClr val="0070C0"/>
              </a:solidFill>
            </a:endParaRPr>
          </a:p>
          <a:p>
            <a:r>
              <a:rPr lang="en-US" sz="900" b="1" dirty="0">
                <a:solidFill>
                  <a:srgbClr val="0070C0"/>
                </a:solidFill>
              </a:rPr>
              <a:t>New legislation on sustainability </a:t>
            </a:r>
            <a:r>
              <a:rPr lang="en-US" sz="900" dirty="0">
                <a:solidFill>
                  <a:srgbClr val="0070C0"/>
                </a:solidFill>
              </a:rPr>
              <a:t>focuses on reporting and due diligence in the value chain</a:t>
            </a:r>
          </a:p>
          <a:p>
            <a:endParaRPr lang="en-US" sz="900" dirty="0">
              <a:solidFill>
                <a:srgbClr val="0070C0"/>
              </a:solidFill>
            </a:endParaRPr>
          </a:p>
          <a:p>
            <a:endParaRPr lang="en-US" sz="900" b="1" dirty="0">
              <a:solidFill>
                <a:srgbClr val="0070C0"/>
              </a:solidFill>
            </a:endParaRPr>
          </a:p>
          <a:p>
            <a:endParaRPr lang="en-US" sz="900" b="1" dirty="0">
              <a:solidFill>
                <a:srgbClr val="0070C0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9AA8788-9D52-88B9-3008-9515111FE465}"/>
              </a:ext>
            </a:extLst>
          </p:cNvPr>
          <p:cNvSpPr/>
          <p:nvPr/>
        </p:nvSpPr>
        <p:spPr>
          <a:xfrm>
            <a:off x="7200900" y="764583"/>
            <a:ext cx="1686122" cy="370349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endParaRPr lang="en-DK" sz="1400" dirty="0" err="1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441103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5BD7E6E-9432-3BD6-041E-1C4A8C998D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11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BD7E6E-9432-3BD6-041E-1C4A8C99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5FD8EE-8728-25C3-7708-4DCD36E12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830CF-01D2-3155-674E-A985447DAD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16 August 2023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9D34623-1D59-C750-B792-ECF7DD3B6B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Thank you</a:t>
            </a:r>
            <a:br>
              <a:rPr lang="en-US" dirty="0"/>
            </a:br>
            <a:br>
              <a:rPr lang="en-US" dirty="0"/>
            </a:br>
            <a:r>
              <a:rPr lang="en-GB" sz="1800" dirty="0"/>
              <a:t>Dagny Nome,</a:t>
            </a:r>
            <a:br>
              <a:rPr lang="en-GB" sz="1800" dirty="0"/>
            </a:br>
            <a:r>
              <a:rPr lang="en-GB" sz="1800" dirty="0"/>
              <a:t>Procurement Sustainability Manager</a:t>
            </a:r>
            <a:br>
              <a:rPr lang="en-GB" sz="1800" dirty="0"/>
            </a:br>
            <a:br>
              <a:rPr lang="en-GB" sz="1800" dirty="0"/>
            </a:br>
            <a:r>
              <a:rPr lang="en-GB" sz="1800" dirty="0"/>
              <a:t>e-mail: </a:t>
            </a:r>
            <a:r>
              <a:rPr lang="en-GB" sz="1800" u="sng" dirty="0">
                <a:solidFill>
                  <a:schemeClr val="bg1"/>
                </a:solidFill>
              </a:rPr>
              <a:t>DAGN@hempel.com</a:t>
            </a:r>
            <a:br>
              <a:rPr lang="en-US" sz="1800" dirty="0"/>
            </a:br>
            <a:br>
              <a:rPr lang="en-US" dirty="0"/>
            </a:b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9532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D38722-BBE1-F1F8-B5B9-41BB1C9BC1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D38722-BBE1-F1F8-B5B9-41BB1C9BC1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451CE5-DC98-AEC8-70B8-64516DFFB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600" y="259490"/>
            <a:ext cx="7415212" cy="763494"/>
          </a:xfrm>
        </p:spPr>
        <p:txBody>
          <a:bodyPr vert="horz"/>
          <a:lstStyle/>
          <a:p>
            <a:r>
              <a:rPr lang="en-US" sz="2400" dirty="0"/>
              <a:t>Hempel is a global coatings company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02602F-8070-C54F-FD96-C60E7A6FE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DD83C6-3EC8-130A-CFEA-A6FC8C23A3F5}"/>
              </a:ext>
            </a:extLst>
          </p:cNvPr>
          <p:cNvSpPr/>
          <p:nvPr/>
        </p:nvSpPr>
        <p:spPr>
          <a:xfrm>
            <a:off x="7274619" y="765946"/>
            <a:ext cx="1004193" cy="257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r>
              <a:rPr lang="en-GB" sz="6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stainability – Foundation course</a:t>
            </a:r>
            <a:endParaRPr lang="en-GB" sz="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C2AF64-B493-F453-07E8-D90C8E0C57A7}"/>
              </a:ext>
            </a:extLst>
          </p:cNvPr>
          <p:cNvSpPr/>
          <p:nvPr/>
        </p:nvSpPr>
        <p:spPr>
          <a:xfrm>
            <a:off x="863600" y="1372653"/>
            <a:ext cx="1720723" cy="2701379"/>
          </a:xfrm>
          <a:prstGeom prst="rect">
            <a:avLst/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lIns="54000" tIns="54000" rIns="54000" bIns="5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</a:rPr>
              <a:t>Our purpose is to shape a brighter future with sustainable coating solutions</a:t>
            </a:r>
            <a:endParaRPr kumimoji="0" lang="en-IN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BF6482A-80AB-67D6-833F-07DF22637C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84324" y="1372653"/>
            <a:ext cx="6197727" cy="27013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5660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78CB4B5-0605-9F6A-8A82-485E823F5CEC}"/>
              </a:ext>
            </a:extLst>
          </p:cNvPr>
          <p:cNvSpPr/>
          <p:nvPr/>
        </p:nvSpPr>
        <p:spPr>
          <a:xfrm>
            <a:off x="580967" y="1390339"/>
            <a:ext cx="2447871" cy="26812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endParaRPr lang="en-DK" sz="14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087FB1-DC7F-40B8-351E-B038CE94513D}"/>
              </a:ext>
            </a:extLst>
          </p:cNvPr>
          <p:cNvSpPr/>
          <p:nvPr/>
        </p:nvSpPr>
        <p:spPr>
          <a:xfrm>
            <a:off x="6194940" y="1390339"/>
            <a:ext cx="2447871" cy="2681206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endParaRPr lang="en-DK" sz="1400" dirty="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8F458F-252C-4E84-1555-5C128D6BF6BD}"/>
              </a:ext>
            </a:extLst>
          </p:cNvPr>
          <p:cNvSpPr/>
          <p:nvPr/>
        </p:nvSpPr>
        <p:spPr>
          <a:xfrm>
            <a:off x="3333638" y="1390339"/>
            <a:ext cx="2447871" cy="2681206"/>
          </a:xfrm>
          <a:prstGeom prst="rect">
            <a:avLst/>
          </a:prstGeom>
          <a:solidFill>
            <a:schemeClr val="bg1"/>
          </a:solidFill>
          <a:ln>
            <a:solidFill>
              <a:srgbClr val="25663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endParaRPr lang="en-DK" sz="14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F2EB7B-575F-602A-AF47-00C91A82A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552" y="263915"/>
            <a:ext cx="7415212" cy="763494"/>
          </a:xfrm>
        </p:spPr>
        <p:txBody>
          <a:bodyPr/>
          <a:lstStyle/>
          <a:p>
            <a:r>
              <a:rPr lang="en-US" sz="2400" dirty="0"/>
              <a:t>Procurement: Three sustainability must win battles</a:t>
            </a:r>
            <a:endParaRPr lang="en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636C1-466C-6877-5E79-61AAF5B59C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rtl="0"/>
            <a:fld id="{3A483F72-6696-D64B-9F37-DCAA5586588F}" type="slidenum">
              <a:rPr lang="en-GB" smtClean="0"/>
              <a:pPr rtl="0"/>
              <a:t>3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0B896D-C90F-0A1B-D47B-386A1EE723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106709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9E0CF1-70A9-805A-442D-57A83762D7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531" y="1950620"/>
            <a:ext cx="1908532" cy="18796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086DEB-9254-30DD-24B3-083240FBB5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454" y="2197019"/>
            <a:ext cx="1125408" cy="64572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4F1D95D-B378-F8F1-BE6C-6F72544949E8}"/>
              </a:ext>
            </a:extLst>
          </p:cNvPr>
          <p:cNvSpPr/>
          <p:nvPr/>
        </p:nvSpPr>
        <p:spPr>
          <a:xfrm>
            <a:off x="580966" y="1390339"/>
            <a:ext cx="2447872" cy="415871"/>
          </a:xfrm>
          <a:prstGeom prst="rect">
            <a:avLst/>
          </a:prstGeom>
          <a:solidFill>
            <a:srgbClr val="0B6A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r>
              <a:rPr lang="en-US" sz="1200" dirty="0"/>
              <a:t>Achieve Hempel’s ambitions for sustainability leadership</a:t>
            </a:r>
            <a:endParaRPr lang="en-DK" sz="1200" dirty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92DBAD-7763-0169-0C84-188AD92E6761}"/>
              </a:ext>
            </a:extLst>
          </p:cNvPr>
          <p:cNvSpPr/>
          <p:nvPr/>
        </p:nvSpPr>
        <p:spPr>
          <a:xfrm>
            <a:off x="3333638" y="1390338"/>
            <a:ext cx="2447872" cy="415871"/>
          </a:xfrm>
          <a:prstGeom prst="rect">
            <a:avLst/>
          </a:prstGeom>
          <a:solidFill>
            <a:srgbClr val="2566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r>
              <a:rPr lang="en-US" sz="1200" dirty="0"/>
              <a:t>Realize the boldest climate ambitions in our industry</a:t>
            </a:r>
            <a:endParaRPr lang="en-DK" sz="1200" dirty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AC271F-F807-A305-F4C4-60E64E2B1B3E}"/>
              </a:ext>
            </a:extLst>
          </p:cNvPr>
          <p:cNvSpPr/>
          <p:nvPr/>
        </p:nvSpPr>
        <p:spPr>
          <a:xfrm>
            <a:off x="6194939" y="1390338"/>
            <a:ext cx="2447872" cy="41587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r>
              <a:rPr lang="en-US" sz="1200" dirty="0"/>
              <a:t>Comply with the transition from soft to hard law on sustainability</a:t>
            </a:r>
            <a:endParaRPr lang="en-DK" sz="12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6F7DEEB-B760-60F0-038A-67D6DB6D4701}"/>
              </a:ext>
            </a:extLst>
          </p:cNvPr>
          <p:cNvSpPr txBox="1"/>
          <p:nvPr/>
        </p:nvSpPr>
        <p:spPr>
          <a:xfrm>
            <a:off x="3612802" y="3295562"/>
            <a:ext cx="2048638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050" dirty="0"/>
              <a:t>Scope 1+2: 90% reductions</a:t>
            </a:r>
          </a:p>
          <a:p>
            <a:r>
              <a:rPr lang="en-US" sz="1050" dirty="0"/>
              <a:t>Scope 3: 50% absolute reductions</a:t>
            </a:r>
            <a:endParaRPr lang="en-DK" sz="1050" dirty="0" err="1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7A02EE-730E-131A-449A-EEEB18A5696C}"/>
              </a:ext>
            </a:extLst>
          </p:cNvPr>
          <p:cNvSpPr txBox="1"/>
          <p:nvPr/>
        </p:nvSpPr>
        <p:spPr>
          <a:xfrm>
            <a:off x="6194939" y="1987934"/>
            <a:ext cx="244787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2"/>
            <a:r>
              <a:rPr lang="en-US" sz="1000" dirty="0"/>
              <a:t>Focus on value chain transparency, due diligence process and reporting</a:t>
            </a:r>
          </a:p>
          <a:p>
            <a:pPr marL="87312"/>
            <a:endParaRPr lang="en-US" sz="1000" dirty="0"/>
          </a:p>
          <a:p>
            <a:pPr marL="87312"/>
            <a:r>
              <a:rPr lang="en-US" sz="1000" dirty="0"/>
              <a:t>Main upcoming EU legislation</a:t>
            </a:r>
          </a:p>
          <a:p>
            <a:pPr marL="180975" indent="-93663">
              <a:buFont typeface="Arial" panose="020B0604020202020204" pitchFamily="34" charset="0"/>
              <a:buChar char="•"/>
            </a:pPr>
            <a:r>
              <a:rPr lang="en-US" sz="1000" dirty="0"/>
              <a:t>Corporate Due Diligence Act (CSDD)</a:t>
            </a:r>
          </a:p>
          <a:p>
            <a:pPr marL="180975" indent="-93663">
              <a:buFont typeface="Arial" panose="020B0604020202020204" pitchFamily="34" charset="0"/>
              <a:buChar char="•"/>
            </a:pPr>
            <a:r>
              <a:rPr lang="en-US" sz="1000" dirty="0"/>
              <a:t>Corporate Sustainability Reporting Directive (CSRD)</a:t>
            </a:r>
          </a:p>
          <a:p>
            <a:pPr marL="87312"/>
            <a:endParaRPr lang="en-US" sz="1000" dirty="0"/>
          </a:p>
          <a:p>
            <a:pPr marL="87312"/>
            <a:r>
              <a:rPr lang="en-US" sz="1000" dirty="0"/>
              <a:t>..but also a myriad of national legislations</a:t>
            </a:r>
          </a:p>
          <a:p>
            <a:pPr marL="87312"/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66037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DABBC4-E238-4221-A2E1-A764401171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DABBC4-E238-4221-A2E1-A76440117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5F4814-CCC0-48F8-A698-798ED1CFE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Hempel has sector-leading Science-based Targets</a:t>
            </a:r>
            <a:br>
              <a:rPr lang="en-US" dirty="0"/>
            </a:br>
            <a:r>
              <a:rPr lang="en-US" sz="1200" i="1" dirty="0"/>
              <a:t>2019 baseline</a:t>
            </a:r>
            <a:endParaRPr lang="en-SG" sz="1200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6B7EB7-84ED-48D8-9A44-E152F024A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201" y="962133"/>
            <a:ext cx="7066877" cy="632708"/>
          </a:xfrm>
        </p:spPr>
        <p:txBody>
          <a:bodyPr vert="horz" lIns="68580" tIns="34290" rIns="68580" bIns="34290" rtlCol="0" anchor="t">
            <a:noAutofit/>
          </a:bodyPr>
          <a:lstStyle/>
          <a:p>
            <a:pPr lvl="1"/>
            <a:r>
              <a:rPr lang="en-US" sz="1100" b="0" i="0" dirty="0">
                <a:effectLst/>
              </a:rPr>
              <a:t>Reduce </a:t>
            </a:r>
            <a:r>
              <a:rPr lang="en-US" sz="1100" b="0" i="0" dirty="0">
                <a:effectLst/>
                <a:cs typeface="Arial" panose="020B0604020202020204" pitchFamily="34" charset="0"/>
              </a:rPr>
              <a:t>CO</a:t>
            </a:r>
            <a:r>
              <a:rPr lang="en-US" sz="1100" b="0" i="0" baseline="-25000" dirty="0">
                <a:effectLst/>
                <a:cs typeface="Arial" panose="020B0604020202020204" pitchFamily="34" charset="0"/>
              </a:rPr>
              <a:t>2</a:t>
            </a:r>
            <a:r>
              <a:rPr lang="en-US" sz="1100" b="0" i="0" dirty="0">
                <a:effectLst/>
                <a:cs typeface="Arial" panose="020B0604020202020204" pitchFamily="34" charset="0"/>
              </a:rPr>
              <a:t>e</a:t>
            </a:r>
            <a:r>
              <a:rPr lang="en-US" sz="1100" b="0" i="0" dirty="0">
                <a:effectLst/>
              </a:rPr>
              <a:t> emissions from our own operations by 90% by end of 2026</a:t>
            </a:r>
            <a:r>
              <a:rPr lang="en-US" sz="1100" dirty="0"/>
              <a:t> </a:t>
            </a:r>
            <a:endParaRPr lang="en-US" sz="1100" b="0" i="0" dirty="0">
              <a:effectLst/>
              <a:cs typeface="Calibri"/>
            </a:endParaRPr>
          </a:p>
          <a:p>
            <a:pPr lvl="1"/>
            <a:r>
              <a:rPr lang="en-US" sz="1100" b="0" i="0" dirty="0">
                <a:effectLst/>
              </a:rPr>
              <a:t>Reduce </a:t>
            </a:r>
            <a:r>
              <a:rPr lang="en-US" sz="1100" b="0" i="0" dirty="0">
                <a:effectLst/>
                <a:cs typeface="Arial" panose="020B0604020202020204" pitchFamily="34" charset="0"/>
              </a:rPr>
              <a:t>CO</a:t>
            </a:r>
            <a:r>
              <a:rPr lang="en-US" sz="1100" b="0" i="0" baseline="-25000" dirty="0">
                <a:effectLst/>
                <a:cs typeface="Arial" panose="020B0604020202020204" pitchFamily="34" charset="0"/>
              </a:rPr>
              <a:t>2</a:t>
            </a:r>
            <a:r>
              <a:rPr lang="en-US" sz="1100" b="0" i="0" dirty="0">
                <a:effectLst/>
                <a:cs typeface="Arial" panose="020B0604020202020204" pitchFamily="34" charset="0"/>
              </a:rPr>
              <a:t>e</a:t>
            </a:r>
            <a:r>
              <a:rPr lang="en-US" sz="1100" b="0" i="0" dirty="0">
                <a:effectLst/>
              </a:rPr>
              <a:t> emissions from our value chain by 50% by end of 2030</a:t>
            </a:r>
            <a:endParaRPr lang="en-US" sz="1100" b="0" i="0" dirty="0">
              <a:effectLst/>
              <a:cs typeface="Calibri"/>
            </a:endParaRPr>
          </a:p>
          <a:p>
            <a:endParaRPr lang="en-SG" sz="11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6EDDA1-29C9-1601-9EA7-75165E211C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12788" y="1725627"/>
            <a:ext cx="5834862" cy="273612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B3A8C48-A346-2995-791E-FCD559E76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97013" y="34047"/>
            <a:ext cx="1346987" cy="27828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C619B2C-C5AD-F9C6-B942-8A0F7F38DC50}"/>
              </a:ext>
            </a:extLst>
          </p:cNvPr>
          <p:cNvSpPr txBox="1"/>
          <p:nvPr/>
        </p:nvSpPr>
        <p:spPr>
          <a:xfrm>
            <a:off x="4151520" y="3495101"/>
            <a:ext cx="7245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/>
              <a:t>Logistics (4%)</a:t>
            </a:r>
            <a:endParaRPr lang="en-DK" sz="900" dirty="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E9D2DF-70B6-49F9-5413-A0BDE017913D}"/>
              </a:ext>
            </a:extLst>
          </p:cNvPr>
          <p:cNvSpPr txBox="1"/>
          <p:nvPr/>
        </p:nvSpPr>
        <p:spPr>
          <a:xfrm>
            <a:off x="6871424" y="3701289"/>
            <a:ext cx="72455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/>
              <a:t>Logistics (1%)</a:t>
            </a:r>
            <a:endParaRPr lang="en-DK" sz="9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365038-444B-6C65-41B1-512CB6C5B865}"/>
              </a:ext>
            </a:extLst>
          </p:cNvPr>
          <p:cNvSpPr txBox="1"/>
          <p:nvPr/>
        </p:nvSpPr>
        <p:spPr>
          <a:xfrm>
            <a:off x="355601" y="2489200"/>
            <a:ext cx="178435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Main part of our emissions are under procurements influence….</a:t>
            </a:r>
            <a:endParaRPr lang="en-DK" sz="1400" i="1" dirty="0" err="1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7986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49A9FD-FC34-1D51-06C6-D48EBBE81E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49A9FD-FC34-1D51-06C6-D48EBBE81E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Picture 3">
            <a:extLst>
              <a:ext uri="{FF2B5EF4-FFF2-40B4-BE49-F238E27FC236}">
                <a16:creationId xmlns:a16="http://schemas.microsoft.com/office/drawing/2014/main" id="{3FBC8F3E-6311-8D47-87C6-517FA2154B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86547"/>
            <a:ext cx="9144000" cy="4482447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725B84A-1C75-DA01-22F8-C73C6D278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8125"/>
            <a:ext cx="9143999" cy="763494"/>
          </a:xfrm>
        </p:spPr>
        <p:txBody>
          <a:bodyPr vert="horz"/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Challenge: </a:t>
            </a:r>
            <a:r>
              <a:rPr lang="en-US" dirty="0"/>
              <a:t>Data are imperfect, but we need to act now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53280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74FB6C-DF7C-5BA3-31C9-4FB0875120CC}"/>
              </a:ext>
            </a:extLst>
          </p:cNvPr>
          <p:cNvSpPr/>
          <p:nvPr/>
        </p:nvSpPr>
        <p:spPr>
          <a:xfrm>
            <a:off x="0" y="1196975"/>
            <a:ext cx="9144000" cy="32115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72000" bIns="36000" rtlCol="0" anchor="ctr"/>
          <a:lstStyle/>
          <a:p>
            <a:pPr algn="ctr"/>
            <a:endParaRPr lang="en-DK" sz="1400" dirty="0" err="1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20C95A-319F-044B-EA82-6B400A0578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86024" y="1271587"/>
            <a:ext cx="5715001" cy="3096844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How to move from tick the box questionnaires to dialogue and engagement?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How can we understand the </a:t>
            </a:r>
            <a:r>
              <a:rPr lang="en-US" b="1" dirty="0">
                <a:solidFill>
                  <a:schemeClr val="bg1"/>
                </a:solidFill>
              </a:rPr>
              <a:t>sustainability challenges </a:t>
            </a:r>
            <a:r>
              <a:rPr lang="en-US" dirty="0">
                <a:solidFill>
                  <a:schemeClr val="bg1"/>
                </a:solidFill>
              </a:rPr>
              <a:t>and </a:t>
            </a:r>
            <a:r>
              <a:rPr lang="en-US" b="1" dirty="0">
                <a:solidFill>
                  <a:schemeClr val="bg1"/>
                </a:solidFill>
              </a:rPr>
              <a:t>opportunities </a:t>
            </a:r>
            <a:r>
              <a:rPr lang="en-US" dirty="0">
                <a:solidFill>
                  <a:schemeClr val="bg1"/>
                </a:solidFill>
              </a:rPr>
              <a:t>for each of our different categories?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How can we implement sustainability into tenders?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How can we make sustainability data driven when only poor data exist?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How can we engage with suppliers with very different maturity levels?</a:t>
            </a:r>
            <a:endParaRPr lang="en-DK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02CD06-7EF3-3DBA-E372-CA399B98A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838" y="242912"/>
            <a:ext cx="8147514" cy="763494"/>
          </a:xfrm>
        </p:spPr>
        <p:txBody>
          <a:bodyPr/>
          <a:lstStyle/>
          <a:p>
            <a:r>
              <a:rPr lang="en-US" dirty="0"/>
              <a:t>2020: Figuring out how to approach climate action in the supply chain</a:t>
            </a:r>
            <a:endParaRPr lang="en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BF4A14-23F1-ACB3-8513-437C6D30F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F54782-953B-FFF8-638F-6DF87A33B298}"/>
              </a:ext>
            </a:extLst>
          </p:cNvPr>
          <p:cNvSpPr txBox="1"/>
          <p:nvPr/>
        </p:nvSpPr>
        <p:spPr>
          <a:xfrm>
            <a:off x="215901" y="2352537"/>
            <a:ext cx="165266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ome of the questions we asked ourselves</a:t>
            </a:r>
            <a:endParaRPr lang="en-DK" sz="14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26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38B640-7341-3AB3-2766-CB5A0EFEF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771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38B640-7341-3AB3-2766-CB5A0EFEF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5EFB5702-B902-C01D-9BDB-8599067D6622}"/>
              </a:ext>
            </a:extLst>
          </p:cNvPr>
          <p:cNvSpPr txBox="1">
            <a:spLocks/>
          </p:cNvSpPr>
          <p:nvPr/>
        </p:nvSpPr>
        <p:spPr>
          <a:xfrm>
            <a:off x="899279" y="1271996"/>
            <a:ext cx="3979837" cy="3249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54000" tIns="54000" rIns="54000" bIns="54000" rtlCol="0">
            <a:noAutofit/>
          </a:bodyPr>
          <a:lstStyle>
            <a:lvl1pPr marL="216000" indent="-216000" algn="l" defTabSz="4572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4572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1" indent="0">
              <a:spcBef>
                <a:spcPts val="800"/>
              </a:spcBef>
              <a:buNone/>
            </a:pP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08FF66-028D-7897-5378-25A494256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838" y="304800"/>
            <a:ext cx="7421562" cy="763494"/>
          </a:xfrm>
        </p:spPr>
        <p:txBody>
          <a:bodyPr vert="horz"/>
          <a:lstStyle/>
          <a:p>
            <a:r>
              <a:rPr lang="en-US" b="1" dirty="0">
                <a:solidFill>
                  <a:schemeClr val="accent4"/>
                </a:solidFill>
              </a:rPr>
              <a:t>Our solution: </a:t>
            </a:r>
            <a:br>
              <a:rPr lang="en-US" b="1" dirty="0">
                <a:solidFill>
                  <a:schemeClr val="accent4"/>
                </a:solidFill>
              </a:rPr>
            </a:br>
            <a:r>
              <a:rPr lang="en-US" dirty="0"/>
              <a:t>Supplier screening process to focus on engagement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B418F7-BB0A-02D0-9833-5AFE7BE9C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483F72-6696-D64B-9F37-DCAA5586588F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B72155-1197-CA1F-1145-307CC36FF5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3064" y="1308091"/>
            <a:ext cx="3252267" cy="317742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C05FEC1-D076-B500-9FD8-B91BEB2D7527}"/>
              </a:ext>
            </a:extLst>
          </p:cNvPr>
          <p:cNvSpPr txBox="1"/>
          <p:nvPr/>
        </p:nvSpPr>
        <p:spPr>
          <a:xfrm>
            <a:off x="4942742" y="1271997"/>
            <a:ext cx="3379499" cy="32496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400" dirty="0"/>
              <a:t>Procurement Sustainability Screening launched in 2021 to drive positive impact in our upstream value chain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400" dirty="0"/>
              <a:t>Focus on understanding drivers of environmental sustainability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400" dirty="0"/>
              <a:t>Establish suppliers’ maturity (rather than only current emissions data)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400" dirty="0"/>
              <a:t>Commercial impact from 2023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400" b="1" dirty="0"/>
              <a:t>KPI: 70% spend coverage by 2025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endParaRPr lang="en-US" sz="1400" b="1" dirty="0"/>
          </a:p>
          <a:p>
            <a:pPr>
              <a:spcBef>
                <a:spcPts val="1200"/>
              </a:spcBef>
              <a:buFont typeface="Arial" panose="020B0604020202020204" pitchFamily="34" charset="0"/>
              <a:buNone/>
            </a:pPr>
            <a:endParaRPr lang="en-US" sz="1400" b="1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6DF5CFD-3CF3-9BF0-70D9-307A03DB26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81587" y="3982918"/>
            <a:ext cx="915177" cy="39047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4F9C318-6DF3-2104-CF87-17BD6493E9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81098" y="3813386"/>
            <a:ext cx="743555" cy="7503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1004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2D135A58-3604-686E-17C4-5B15D149045C}"/>
              </a:ext>
            </a:extLst>
          </p:cNvPr>
          <p:cNvSpPr txBox="1">
            <a:spLocks/>
          </p:cNvSpPr>
          <p:nvPr/>
        </p:nvSpPr>
        <p:spPr>
          <a:xfrm>
            <a:off x="2780399" y="1085850"/>
            <a:ext cx="5503176" cy="3249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4000" tIns="54000" rIns="54000" bIns="54000" rtlCol="0" anchor="ctr"/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defRPr>
            </a:lvl1pPr>
          </a:lstStyle>
          <a:p>
            <a:endParaRPr lang="en-US" altLang="en-US" sz="1600" b="0" dirty="0">
              <a:solidFill>
                <a:schemeClr val="bg1"/>
              </a:solidFill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9BDE8710-0CCD-95F9-F620-3E44820B3CE0}"/>
              </a:ext>
            </a:extLst>
          </p:cNvPr>
          <p:cNvSpPr txBox="1">
            <a:spLocks/>
          </p:cNvSpPr>
          <p:nvPr/>
        </p:nvSpPr>
        <p:spPr>
          <a:xfrm>
            <a:off x="860612" y="1085850"/>
            <a:ext cx="1919787" cy="3249613"/>
          </a:xfrm>
          <a:prstGeom prst="rect">
            <a:avLst/>
          </a:prstGeom>
          <a:solidFill>
            <a:srgbClr val="0033A0"/>
          </a:solidFill>
          <a:ln w="9525" cap="flat" cmpd="sng" algn="ctr">
            <a:noFill/>
            <a:prstDash val="solid"/>
          </a:ln>
          <a:effectLst/>
        </p:spPr>
        <p:txBody>
          <a:bodyPr lIns="54000" tIns="54000" rIns="54000" bIns="54000" rtlCol="0" anchor="ctr"/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altLang="en-US" sz="1400" dirty="0"/>
              <a:t>Questionnaire covers key sustainability topics</a:t>
            </a:r>
          </a:p>
          <a:p>
            <a:endParaRPr lang="en-US" altLang="en-US" sz="1400" dirty="0"/>
          </a:p>
          <a:p>
            <a:r>
              <a:rPr lang="en-US" altLang="en-US" sz="1400" dirty="0"/>
              <a:t>Focus on: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en-US" sz="1400" dirty="0"/>
              <a:t>Strateg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en-US" sz="1400" dirty="0"/>
              <a:t>Initiatives / target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en-US" sz="1400" dirty="0"/>
              <a:t>Product data and opportunitie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en-US" sz="1400" dirty="0"/>
              <a:t>Data transparency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altLang="en-US" sz="1400" dirty="0"/>
              <a:t>Value chain</a:t>
            </a:r>
          </a:p>
          <a:p>
            <a:endParaRPr lang="en-US" altLang="en-US" sz="14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BBB9FA4-4861-06B7-DD23-91EC7D5DC2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7350" y="1196975"/>
            <a:ext cx="2978734" cy="308948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3D13E3D-2647-7056-033B-019F9D36107A}"/>
              </a:ext>
            </a:extLst>
          </p:cNvPr>
          <p:cNvSpPr txBox="1">
            <a:spLocks/>
          </p:cNvSpPr>
          <p:nvPr/>
        </p:nvSpPr>
        <p:spPr>
          <a:xfrm>
            <a:off x="865188" y="304800"/>
            <a:ext cx="7415212" cy="7634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18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accent4"/>
                </a:solidFill>
              </a:rPr>
              <a:t>The questionnaire </a:t>
            </a:r>
            <a:r>
              <a:rPr lang="en-US" sz="2400" dirty="0">
                <a:solidFill>
                  <a:srgbClr val="003BA5"/>
                </a:solidFill>
              </a:rPr>
              <a:t>is designed </a:t>
            </a:r>
            <a:r>
              <a:rPr lang="en-US" sz="2400" dirty="0"/>
              <a:t>to encourage dialogue and development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697785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F298A-FCF3-49DC-A49F-E6FCC838F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naire content</a:t>
            </a:r>
            <a:endParaRPr lang="en-DK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9D354B7-3634-4C91-B727-802165F959C5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0" y="686770"/>
          <a:ext cx="9144000" cy="4333240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1438275">
                  <a:extLst>
                    <a:ext uri="{9D8B030D-6E8A-4147-A177-3AD203B41FA5}">
                      <a16:colId xmlns:a16="http://schemas.microsoft.com/office/drawing/2014/main" val="3888817935"/>
                    </a:ext>
                  </a:extLst>
                </a:gridCol>
                <a:gridCol w="2705100">
                  <a:extLst>
                    <a:ext uri="{9D8B030D-6E8A-4147-A177-3AD203B41FA5}">
                      <a16:colId xmlns:a16="http://schemas.microsoft.com/office/drawing/2014/main" val="4153500205"/>
                    </a:ext>
                  </a:extLst>
                </a:gridCol>
                <a:gridCol w="2579062">
                  <a:extLst>
                    <a:ext uri="{9D8B030D-6E8A-4147-A177-3AD203B41FA5}">
                      <a16:colId xmlns:a16="http://schemas.microsoft.com/office/drawing/2014/main" val="847759917"/>
                    </a:ext>
                  </a:extLst>
                </a:gridCol>
                <a:gridCol w="2421563">
                  <a:extLst>
                    <a:ext uri="{9D8B030D-6E8A-4147-A177-3AD203B41FA5}">
                      <a16:colId xmlns:a16="http://schemas.microsoft.com/office/drawing/2014/main" val="24737685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100" dirty="0"/>
                        <a:t>TOPICS</a:t>
                      </a:r>
                      <a:endParaRPr lang="en-DK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DATA</a:t>
                      </a:r>
                      <a:endParaRPr lang="en-DK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DOCUMENTATION</a:t>
                      </a:r>
                      <a:endParaRPr lang="en-DK" sz="1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52511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Company information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Contacts for sustainab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ervices to Hempe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General sustainability assessments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oduction facilities % share of total production</a:t>
                      </a:r>
                    </a:p>
                    <a:p>
                      <a:r>
                        <a:rPr lang="en-US" sz="900" dirty="0"/>
                        <a:t>Assessment score and valid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Ethical Policy/ Guidelines</a:t>
                      </a:r>
                    </a:p>
                    <a:p>
                      <a:r>
                        <a:rPr lang="en-US" sz="900" dirty="0"/>
                        <a:t>Sustainability assessments/scorecards</a:t>
                      </a:r>
                      <a:endParaRPr lang="en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11214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ustainability in </a:t>
                      </a:r>
                    </a:p>
                    <a:p>
                      <a:r>
                        <a:rPr lang="en-US" sz="1000" dirty="0"/>
                        <a:t>your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trategy, focus areas and goa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Participation in external sustainability initia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Carbon emissions data 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Sustainability strategy</a:t>
                      </a:r>
                    </a:p>
                    <a:p>
                      <a:r>
                        <a:rPr lang="en-US" sz="900" dirty="0"/>
                        <a:t>Carbon reduction targets</a:t>
                      </a:r>
                      <a:endParaRPr lang="en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39000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Products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ustainability monitoring (products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Environmental criteri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ustainable solutions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dirty="0"/>
                        <a:t>Product </a:t>
                      </a:r>
                      <a:r>
                        <a:rPr lang="da-DK" sz="900" dirty="0" err="1"/>
                        <a:t>Carbon</a:t>
                      </a:r>
                      <a:r>
                        <a:rPr lang="da-DK" sz="900" dirty="0"/>
                        <a:t> </a:t>
                      </a:r>
                      <a:r>
                        <a:rPr lang="da-DK" sz="900" dirty="0" err="1"/>
                        <a:t>Footprint</a:t>
                      </a:r>
                      <a:endParaRPr lang="en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725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Energy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Monitoring of energy consump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Energy management at faciliti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Goals for reducing energy consump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CO2-neutral energy – current and pla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Initiatives for more sustainable energy sources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Electricity consumption total and per site (kWh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per volume product)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Share renewable energy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ISO50001 cert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Energy Management certification(s)</a:t>
                      </a:r>
                      <a:endParaRPr lang="en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11858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Waste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Waste monitoring and treatment method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Waste water treat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Goals and initiatives for reducing waste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Waste per treatment method (kg per volume </a:t>
                      </a:r>
                    </a:p>
                    <a:p>
                      <a:r>
                        <a:rPr lang="en-US" sz="900" dirty="0"/>
                        <a:t>product) total and per site</a:t>
                      </a:r>
                      <a:endParaRPr lang="en-DK" sz="90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K" sz="90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881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Transport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Transportation modes - outbound logistic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Carbon emiss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Opportunities for sustainable trans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Transportation modes % of total outbound </a:t>
                      </a:r>
                    </a:p>
                    <a:p>
                      <a:r>
                        <a:rPr lang="en-US" sz="900" dirty="0"/>
                        <a:t>transport</a:t>
                      </a:r>
                    </a:p>
                    <a:p>
                      <a:r>
                        <a:rPr lang="en-US" sz="900" dirty="0"/>
                        <a:t>CO2e from outbound logistics (total and </a:t>
                      </a:r>
                    </a:p>
                    <a:p>
                      <a:r>
                        <a:rPr lang="en-US" sz="900" dirty="0"/>
                        <a:t>Hempe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K" sz="90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7803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ustainable supplier management</a:t>
                      </a:r>
                      <a:endParaRPr lang="en-DK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upplier qualification and evalu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upplier follow-up </a:t>
                      </a:r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Suppliers Code of Conduct</a:t>
                      </a:r>
                    </a:p>
                    <a:p>
                      <a:endParaRPr lang="en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9869791"/>
                  </a:ext>
                </a:extLst>
              </a:tr>
            </a:tbl>
          </a:graphicData>
        </a:graphic>
      </p:graphicFrame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FF8E77F9-C442-ADE0-298C-5F5F73BC60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96603" y="4835793"/>
            <a:ext cx="65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K"/>
              <a:t>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891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DAGN\AppData\Local\Temp\Templafy\PowerPointVsto\Assets\11d078f7-f8e9-49a5-be49-91c099a8177a.jp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3-09-21 07:10:32"/>
  <p:tag name="KM-CONTENT-SLIDE" val="2023-09-21 07:10:3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3-09-21 07:10:32"/>
  <p:tag name="KM-CONTENT-SLIDE" val="2023-09-21 07:10:3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3-09-21 07:10:32"/>
  <p:tag name="KM-CONTENT-SLIDE" val="2023-09-21 07:10:3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04019261572038"/>
</p:tagLst>
</file>

<file path=ppt/theme/theme1.xml><?xml version="1.0" encoding="utf-8"?>
<a:theme xmlns:a="http://schemas.openxmlformats.org/drawingml/2006/main" name="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10.xml><?xml version="1.0" encoding="utf-8"?>
<a:theme xmlns:a="http://schemas.openxmlformats.org/drawingml/2006/main" name="9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3.xml><?xml version="1.0" encoding="utf-8"?>
<a:theme xmlns:a="http://schemas.openxmlformats.org/drawingml/2006/main" name="2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empel presentation template.pptx" id="{E0ECB86D-9000-4B6C-8A19-ECCB7694FD7A}" vid="{6F58020B-0972-4379-AB5F-2B44660EEF92}"/>
    </a:ext>
  </a:extLst>
</a:theme>
</file>

<file path=ppt/theme/theme4.xml><?xml version="1.0" encoding="utf-8"?>
<a:theme xmlns:a="http://schemas.openxmlformats.org/drawingml/2006/main" name="3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5.xml><?xml version="1.0" encoding="utf-8"?>
<a:theme xmlns:a="http://schemas.openxmlformats.org/drawingml/2006/main" name="4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empel presentation template.pptx" id="{E0ECB86D-9000-4B6C-8A19-ECCB7694FD7A}" vid="{6F58020B-0972-4379-AB5F-2B44660EEF92}"/>
    </a:ext>
  </a:extLst>
</a:theme>
</file>

<file path=ppt/theme/theme6.xml><?xml version="1.0" encoding="utf-8"?>
<a:theme xmlns:a="http://schemas.openxmlformats.org/drawingml/2006/main" name="5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7.xml><?xml version="1.0" encoding="utf-8"?>
<a:theme xmlns:a="http://schemas.openxmlformats.org/drawingml/2006/main" name="6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ppt/theme/theme8.xml><?xml version="1.0" encoding="utf-8"?>
<a:theme xmlns:a="http://schemas.openxmlformats.org/drawingml/2006/main" name="7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empel presentation template.pptx" id="{E0ECB86D-9000-4B6C-8A19-ECCB7694FD7A}" vid="{6F58020B-0972-4379-AB5F-2B44660EEF92}"/>
    </a:ext>
  </a:extLst>
</a:theme>
</file>

<file path=ppt/theme/theme9.xml><?xml version="1.0" encoding="utf-8"?>
<a:theme xmlns:a="http://schemas.openxmlformats.org/drawingml/2006/main" name="8_Blank">
  <a:themeElements>
    <a:clrScheme name="HEMPEL">
      <a:dk1>
        <a:srgbClr val="595959"/>
      </a:dk1>
      <a:lt1>
        <a:sysClr val="window" lastClr="FFFFFF"/>
      </a:lt1>
      <a:dk2>
        <a:srgbClr val="000000"/>
      </a:dk2>
      <a:lt2>
        <a:srgbClr val="C4BCB7"/>
      </a:lt2>
      <a:accent1>
        <a:srgbClr val="0033A0"/>
      </a:accent1>
      <a:accent2>
        <a:srgbClr val="009FDF"/>
      </a:accent2>
      <a:accent3>
        <a:srgbClr val="E30613"/>
      </a:accent3>
      <a:accent4>
        <a:srgbClr val="64A70B"/>
      </a:accent4>
      <a:accent5>
        <a:srgbClr val="D86018"/>
      </a:accent5>
      <a:accent6>
        <a:srgbClr val="F2A900"/>
      </a:accent6>
      <a:hlink>
        <a:srgbClr val="0033A0"/>
      </a:hlink>
      <a:folHlink>
        <a:srgbClr val="E31C79"/>
      </a:folHlink>
    </a:clrScheme>
    <a:fontScheme name="HEMP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  <a:effectLst/>
      </a:spPr>
      <a:bodyPr lIns="36000" tIns="36000" rIns="72000" bIns="36000"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 [Autosaved]" id="{7B311BA4-2320-4B2D-A9AA-1F51D66F1EA2}" vid="{A8E3C232-DD9C-4197-A23C-EEACBCFA65A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ecd75da-c217-4f63-b08a-6b4b215fe3b7" xsi:nil="true"/>
    <lcf76f155ced4ddcb4097134ff3c332f xmlns="e15ecd09-b3ec-40ba-a5ae-6494d72fe04b">
      <Terms xmlns="http://schemas.microsoft.com/office/infopath/2007/PartnerControls"/>
    </lcf76f155ced4ddcb4097134ff3c332f>
    <SharedWithUsers xmlns="0ecd75da-c217-4f63-b08a-6b4b215fe3b7">
      <UserInfo>
        <DisplayName>SharingLinks.3fdc205b-91d6-48bb-b772-799570f01c2f.Flexible.851552ad-8a51-437c-a0d9-69588aa8e01b</DisplayName>
        <AccountId>38</AccountId>
        <AccountType/>
      </UserInfo>
      <UserInfo>
        <DisplayName>Henrik Holm Vinholt</DisplayName>
        <AccountId>18</AccountId>
        <AccountType/>
      </UserInfo>
      <UserInfo>
        <DisplayName>SharingLinks.4bd53edf-7fc1-489c-88d5-840e1a1a296c.OrganizationView.767f5623-9604-4e6a-8a79-913a01575887</DisplayName>
        <AccountId>113</AccountId>
        <AccountType/>
      </UserInfo>
      <UserInfo>
        <DisplayName>Laurie Kosek</DisplayName>
        <AccountId>36</AccountId>
        <AccountType/>
      </UserInfo>
      <UserInfo>
        <DisplayName>Maria Carlsen Skovsted</DisplayName>
        <AccountId>16</AccountId>
        <AccountType/>
      </UserInfo>
      <UserInfo>
        <DisplayName>Paulina Koryczan</DisplayName>
        <AccountId>128</AccountId>
        <AccountType/>
      </UserInfo>
      <UserInfo>
        <DisplayName>Martin Wiese</DisplayName>
        <AccountId>95</AccountId>
        <AccountType/>
      </UserInfo>
      <UserInfo>
        <DisplayName>Dagny Nome</DisplayName>
        <AccountId>129</AccountId>
        <AccountType/>
      </UserInfo>
    </SharedWithUsers>
  </documentManagement>
</p:properties>
</file>

<file path=customXml/item2.xml><?xml version="1.0" encoding="utf-8"?>
<TemplafySlideTemplateConfiguration><![CDATA[{"slideVersion":1,"isValidatorEnabled":false,"isLocked":false,"elementsMetadata":[],"slideId":"638364184418926334","enableDocumentContentUpdater":false,"version":"2.0"}]]></TemplafySlideTemplate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87259D2F0E0D419FBE6892569AFE4A" ma:contentTypeVersion="13" ma:contentTypeDescription="Create a new document." ma:contentTypeScope="" ma:versionID="29baed939d92f6ebec09235ed47c613b">
  <xsd:schema xmlns:xsd="http://www.w3.org/2001/XMLSchema" xmlns:xs="http://www.w3.org/2001/XMLSchema" xmlns:p="http://schemas.microsoft.com/office/2006/metadata/properties" xmlns:ns2="0ecd75da-c217-4f63-b08a-6b4b215fe3b7" xmlns:ns3="e15ecd09-b3ec-40ba-a5ae-6494d72fe04b" targetNamespace="http://schemas.microsoft.com/office/2006/metadata/properties" ma:root="true" ma:fieldsID="46d37e0300c0db419c7119891f246128" ns2:_="" ns3:_="">
    <xsd:import namespace="0ecd75da-c217-4f63-b08a-6b4b215fe3b7"/>
    <xsd:import namespace="e15ecd09-b3ec-40ba-a5ae-6494d72fe04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cd75da-c217-4f63-b08a-6b4b215fe3b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b529c4f2-d45f-425c-8242-c0fed2a16c38}" ma:internalName="TaxCatchAll" ma:showField="CatchAllData" ma:web="0ecd75da-c217-4f63-b08a-6b4b215fe3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5ecd09-b3ec-40ba-a5ae-6494d72fe0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216ce64-6705-4911-8d88-2328cb19ce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5A82B7A3-A433-4270-849B-85688C3E877A}">
  <ds:schemaRefs>
    <ds:schemaRef ds:uri="http://purl.org/dc/dcmitype/"/>
    <ds:schemaRef ds:uri="http://purl.org/dc/elements/1.1/"/>
    <ds:schemaRef ds:uri="http://www.w3.org/XML/1998/namespace"/>
    <ds:schemaRef ds:uri="0ecd75da-c217-4f63-b08a-6b4b215fe3b7"/>
    <ds:schemaRef ds:uri="http://schemas.microsoft.com/office/2006/documentManagement/types"/>
    <ds:schemaRef ds:uri="e15ecd09-b3ec-40ba-a5ae-6494d72fe04b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D64BF8C-C3B6-400F-AB98-20B8C431E0CC}">
  <ds:schemaRefs/>
</ds:datastoreItem>
</file>

<file path=customXml/itemProps3.xml><?xml version="1.0" encoding="utf-8"?>
<ds:datastoreItem xmlns:ds="http://schemas.openxmlformats.org/officeDocument/2006/customXml" ds:itemID="{C57B7F42-234D-4A1C-A77B-0C8EF6FB595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6E61E3F-CF11-47A3-9625-05E11884CF72}">
  <ds:schemaRefs>
    <ds:schemaRef ds:uri="0ecd75da-c217-4f63-b08a-6b4b215fe3b7"/>
    <ds:schemaRef ds:uri="e15ecd09-b3ec-40ba-a5ae-6494d72fe0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D5471776-0457-41D0-9203-8DD38CAC0A4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34</Words>
  <Application>Microsoft Office PowerPoint</Application>
  <PresentationFormat>On-screen Show (16:9)</PresentationFormat>
  <Paragraphs>205</Paragraphs>
  <Slides>16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Arial</vt:lpstr>
      <vt:lpstr>Calibri</vt:lpstr>
      <vt:lpstr>Montserrat</vt:lpstr>
      <vt:lpstr>Montserrat Light</vt:lpstr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think-cell Slide</vt:lpstr>
      <vt:lpstr> Engaging suppliers for scope 3 reductions   Dagny Nome Procurement Sustainability  Manager          </vt:lpstr>
      <vt:lpstr>Hempel is a global coatings company </vt:lpstr>
      <vt:lpstr>Procurement: Three sustainability must win battles</vt:lpstr>
      <vt:lpstr>Hempel has sector-leading Science-based Targets 2019 baseline</vt:lpstr>
      <vt:lpstr>Challenge: Data are imperfect, but we need to act now</vt:lpstr>
      <vt:lpstr>2020: Figuring out how to approach climate action in the supply chain</vt:lpstr>
      <vt:lpstr>Our solution:  Supplier screening process to focus on engagement</vt:lpstr>
      <vt:lpstr>PowerPoint Presentation</vt:lpstr>
      <vt:lpstr>Questionnaire content</vt:lpstr>
      <vt:lpstr>PowerPoint Presentation</vt:lpstr>
      <vt:lpstr>Learnings: How to make meetings impactful</vt:lpstr>
      <vt:lpstr>The company scorecard is our feedback to suppliers and a tool for continuous development</vt:lpstr>
      <vt:lpstr>The performance review ensures regular update on sustainability metrics to category managers</vt:lpstr>
      <vt:lpstr>Learnings: Challenges and opportunities</vt:lpstr>
      <vt:lpstr>Stepping up in 2024 From engagement to impact</vt:lpstr>
      <vt:lpstr>Thank you  Dagny Nome, Procurement Sustainability Manager  e-mail: DAGN@hempel.com  </vt:lpstr>
    </vt:vector>
  </TitlesOfParts>
  <Company>InHouse Produc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/a</dc:creator>
  <cp:lastModifiedBy>Dagny Nome</cp:lastModifiedBy>
  <cp:revision>21</cp:revision>
  <cp:lastPrinted>2022-04-05T12:40:02Z</cp:lastPrinted>
  <dcterms:created xsi:type="dcterms:W3CDTF">2017-03-02T12:22:04Z</dcterms:created>
  <dcterms:modified xsi:type="dcterms:W3CDTF">2024-01-22T15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6-12T14:35:28.7758458Z</vt:lpwstr>
  </property>
  <property fmtid="{D5CDD505-2E9C-101B-9397-08002B2CF9AE}" pid="3" name="CustomerId">
    <vt:lpwstr>hempel</vt:lpwstr>
  </property>
  <property fmtid="{D5CDD505-2E9C-101B-9397-08002B2CF9AE}" pid="4" name="TemplateId">
    <vt:lpwstr>636244933003838982</vt:lpwstr>
  </property>
  <property fmtid="{D5CDD505-2E9C-101B-9397-08002B2CF9AE}" pid="5" name="UserProfileId">
    <vt:lpwstr>638096308851078784</vt:lpwstr>
  </property>
  <property fmtid="{D5CDD505-2E9C-101B-9397-08002B2CF9AE}" pid="6" name="MSIP_Label_9ff76e1a-9621-4c0c-a789-84379d561f7b_Enabled">
    <vt:lpwstr>true</vt:lpwstr>
  </property>
  <property fmtid="{D5CDD505-2E9C-101B-9397-08002B2CF9AE}" pid="7" name="MSIP_Label_9ff76e1a-9621-4c0c-a789-84379d561f7b_SetDate">
    <vt:lpwstr>2022-02-21T10:23:41Z</vt:lpwstr>
  </property>
  <property fmtid="{D5CDD505-2E9C-101B-9397-08002B2CF9AE}" pid="8" name="MSIP_Label_9ff76e1a-9621-4c0c-a789-84379d561f7b_Method">
    <vt:lpwstr>Standard</vt:lpwstr>
  </property>
  <property fmtid="{D5CDD505-2E9C-101B-9397-08002B2CF9AE}" pid="9" name="MSIP_Label_9ff76e1a-9621-4c0c-a789-84379d561f7b_Name">
    <vt:lpwstr>9ff76e1a-9621-4c0c-a789-84379d561f7b</vt:lpwstr>
  </property>
  <property fmtid="{D5CDD505-2E9C-101B-9397-08002B2CF9AE}" pid="10" name="MSIP_Label_9ff76e1a-9621-4c0c-a789-84379d561f7b_SiteId">
    <vt:lpwstr>e6e68e14-0c3f-413b-abdf-8b1f8f0ade02</vt:lpwstr>
  </property>
  <property fmtid="{D5CDD505-2E9C-101B-9397-08002B2CF9AE}" pid="11" name="MSIP_Label_9ff76e1a-9621-4c0c-a789-84379d561f7b_ContentBits">
    <vt:lpwstr>0</vt:lpwstr>
  </property>
  <property fmtid="{D5CDD505-2E9C-101B-9397-08002B2CF9AE}" pid="12" name="MediaServiceImageTags">
    <vt:lpwstr/>
  </property>
  <property fmtid="{D5CDD505-2E9C-101B-9397-08002B2CF9AE}" pid="13" name="ContentTypeId">
    <vt:lpwstr>0x010100F487259D2F0E0D419FBE6892569AFE4A</vt:lpwstr>
  </property>
</Properties>
</file>